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66" r:id="rId2"/>
    <p:sldId id="273" r:id="rId3"/>
    <p:sldId id="261" r:id="rId4"/>
    <p:sldId id="259" r:id="rId5"/>
    <p:sldId id="278" r:id="rId6"/>
    <p:sldId id="270" r:id="rId7"/>
    <p:sldId id="260" r:id="rId8"/>
    <p:sldId id="275" r:id="rId9"/>
    <p:sldId id="277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52" userDrawn="1">
          <p15:clr>
            <a:srgbClr val="A4A3A4"/>
          </p15:clr>
        </p15:guide>
        <p15:guide id="2" orient="horz" pos="1008" userDrawn="1">
          <p15:clr>
            <a:srgbClr val="A4A3A4"/>
          </p15:clr>
        </p15:guide>
        <p15:guide id="3" orient="horz" pos="3648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264" userDrawn="1">
          <p15:clr>
            <a:srgbClr val="A4A3A4"/>
          </p15:clr>
        </p15:guide>
        <p15:guide id="6" pos="55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CE202A"/>
    <a:srgbClr val="0D65AC"/>
    <a:srgbClr val="2A9B18"/>
    <a:srgbClr val="E99E09"/>
    <a:srgbClr val="0A518A"/>
    <a:srgbClr val="227C13"/>
    <a:srgbClr val="BA7E07"/>
    <a:srgbClr val="A51A22"/>
    <a:srgbClr val="F0B7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-2370" y="-960"/>
      </p:cViewPr>
      <p:guideLst>
        <p:guide orient="horz" pos="2352"/>
        <p:guide orient="horz" pos="1008"/>
        <p:guide orient="horz" pos="3648"/>
        <p:guide pos="2880"/>
        <p:guide pos="264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ABCAC-0337-4627-BBB7-BF189B8EDA90}" type="datetimeFigureOut">
              <a:rPr lang="en-US" smtClean="0"/>
              <a:t>2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latin typeface="+mn-lt"/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>
            <a:stCxn id="80" idx="6"/>
            <a:endCxn id="124" idx="2"/>
          </p:cNvCxnSpPr>
          <p:nvPr/>
        </p:nvCxnSpPr>
        <p:spPr>
          <a:xfrm>
            <a:off x="1816569" y="4552484"/>
            <a:ext cx="5577466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97" name="Rectangle 33"/>
          <p:cNvSpPr>
            <a:spLocks/>
          </p:cNvSpPr>
          <p:nvPr/>
        </p:nvSpPr>
        <p:spPr bwMode="auto">
          <a:xfrm>
            <a:off x="695851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2" name="Freeform 5"/>
          <p:cNvSpPr>
            <a:spLocks noEditPoints="1"/>
          </p:cNvSpPr>
          <p:nvPr/>
        </p:nvSpPr>
        <p:spPr bwMode="auto">
          <a:xfrm>
            <a:off x="4839857" y="2340504"/>
            <a:ext cx="1408509" cy="1402491"/>
          </a:xfrm>
          <a:custGeom>
            <a:avLst/>
            <a:gdLst>
              <a:gd name="T0" fmla="*/ 2806 w 2806"/>
              <a:gd name="T1" fmla="*/ 2797 h 2797"/>
              <a:gd name="T2" fmla="*/ 2192 w 2806"/>
              <a:gd name="T3" fmla="*/ 2797 h 2797"/>
              <a:gd name="T4" fmla="*/ 1948 w 2806"/>
              <a:gd name="T5" fmla="*/ 2162 h 2797"/>
              <a:gd name="T6" fmla="*/ 829 w 2806"/>
              <a:gd name="T7" fmla="*/ 2162 h 2797"/>
              <a:gd name="T8" fmla="*/ 599 w 2806"/>
              <a:gd name="T9" fmla="*/ 2797 h 2797"/>
              <a:gd name="T10" fmla="*/ 0 w 2806"/>
              <a:gd name="T11" fmla="*/ 2797 h 2797"/>
              <a:gd name="T12" fmla="*/ 1089 w 2806"/>
              <a:gd name="T13" fmla="*/ 0 h 2797"/>
              <a:gd name="T14" fmla="*/ 1686 w 2806"/>
              <a:gd name="T15" fmla="*/ 0 h 2797"/>
              <a:gd name="T16" fmla="*/ 2806 w 2806"/>
              <a:gd name="T17" fmla="*/ 2797 h 2797"/>
              <a:gd name="T18" fmla="*/ 1766 w 2806"/>
              <a:gd name="T19" fmla="*/ 1691 h 2797"/>
              <a:gd name="T20" fmla="*/ 1381 w 2806"/>
              <a:gd name="T21" fmla="*/ 652 h 2797"/>
              <a:gd name="T22" fmla="*/ 1003 w 2806"/>
              <a:gd name="T23" fmla="*/ 1691 h 2797"/>
              <a:gd name="T24" fmla="*/ 1766 w 2806"/>
              <a:gd name="T25" fmla="*/ 1691 h 2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06" h="2797">
                <a:moveTo>
                  <a:pt x="2806" y="2797"/>
                </a:moveTo>
                <a:lnTo>
                  <a:pt x="2192" y="2797"/>
                </a:lnTo>
                <a:lnTo>
                  <a:pt x="1948" y="2162"/>
                </a:lnTo>
                <a:lnTo>
                  <a:pt x="829" y="2162"/>
                </a:lnTo>
                <a:lnTo>
                  <a:pt x="599" y="2797"/>
                </a:lnTo>
                <a:lnTo>
                  <a:pt x="0" y="2797"/>
                </a:lnTo>
                <a:lnTo>
                  <a:pt x="1089" y="0"/>
                </a:lnTo>
                <a:lnTo>
                  <a:pt x="1686" y="0"/>
                </a:lnTo>
                <a:lnTo>
                  <a:pt x="2806" y="2797"/>
                </a:lnTo>
                <a:close/>
                <a:moveTo>
                  <a:pt x="1766" y="1691"/>
                </a:moveTo>
                <a:lnTo>
                  <a:pt x="1381" y="652"/>
                </a:lnTo>
                <a:lnTo>
                  <a:pt x="1003" y="1691"/>
                </a:lnTo>
                <a:lnTo>
                  <a:pt x="1766" y="1691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6404868" y="2352542"/>
            <a:ext cx="989167" cy="1390452"/>
          </a:xfrm>
          <a:custGeom>
            <a:avLst/>
            <a:gdLst>
              <a:gd name="T0" fmla="*/ 0 w 1968"/>
              <a:gd name="T1" fmla="*/ 2775 h 2775"/>
              <a:gd name="T2" fmla="*/ 0 w 1968"/>
              <a:gd name="T3" fmla="*/ 0 h 2775"/>
              <a:gd name="T4" fmla="*/ 563 w 1968"/>
              <a:gd name="T5" fmla="*/ 0 h 2775"/>
              <a:gd name="T6" fmla="*/ 563 w 1968"/>
              <a:gd name="T7" fmla="*/ 2304 h 2775"/>
              <a:gd name="T8" fmla="*/ 1968 w 1968"/>
              <a:gd name="T9" fmla="*/ 2304 h 2775"/>
              <a:gd name="T10" fmla="*/ 1968 w 1968"/>
              <a:gd name="T11" fmla="*/ 2775 h 2775"/>
              <a:gd name="T12" fmla="*/ 0 w 1968"/>
              <a:gd name="T13" fmla="*/ 2775 h 2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68" h="2775">
                <a:moveTo>
                  <a:pt x="0" y="2775"/>
                </a:moveTo>
                <a:lnTo>
                  <a:pt x="0" y="0"/>
                </a:lnTo>
                <a:lnTo>
                  <a:pt x="563" y="0"/>
                </a:lnTo>
                <a:lnTo>
                  <a:pt x="563" y="2304"/>
                </a:lnTo>
                <a:lnTo>
                  <a:pt x="1968" y="2304"/>
                </a:lnTo>
                <a:lnTo>
                  <a:pt x="1968" y="2775"/>
                </a:lnTo>
                <a:lnTo>
                  <a:pt x="0" y="2775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1749965" y="2316427"/>
            <a:ext cx="1314208" cy="1450645"/>
          </a:xfrm>
          <a:custGeom>
            <a:avLst/>
            <a:gdLst>
              <a:gd name="T0" fmla="*/ 2593 w 2617"/>
              <a:gd name="T1" fmla="*/ 2481 h 2892"/>
              <a:gd name="T2" fmla="*/ 2460 w 2617"/>
              <a:gd name="T3" fmla="*/ 2582 h 2892"/>
              <a:gd name="T4" fmla="*/ 2297 w 2617"/>
              <a:gd name="T5" fmla="*/ 2676 h 2892"/>
              <a:gd name="T6" fmla="*/ 2101 w 2617"/>
              <a:gd name="T7" fmla="*/ 2763 h 2892"/>
              <a:gd name="T8" fmla="*/ 1890 w 2617"/>
              <a:gd name="T9" fmla="*/ 2831 h 2892"/>
              <a:gd name="T10" fmla="*/ 1677 w 2617"/>
              <a:gd name="T11" fmla="*/ 2874 h 2892"/>
              <a:gd name="T12" fmla="*/ 1463 w 2617"/>
              <a:gd name="T13" fmla="*/ 2892 h 2892"/>
              <a:gd name="T14" fmla="*/ 1207 w 2617"/>
              <a:gd name="T15" fmla="*/ 2881 h 2892"/>
              <a:gd name="T16" fmla="*/ 962 w 2617"/>
              <a:gd name="T17" fmla="*/ 2835 h 2892"/>
              <a:gd name="T18" fmla="*/ 738 w 2617"/>
              <a:gd name="T19" fmla="*/ 2752 h 2892"/>
              <a:gd name="T20" fmla="*/ 538 w 2617"/>
              <a:gd name="T21" fmla="*/ 2634 h 2892"/>
              <a:gd name="T22" fmla="*/ 369 w 2617"/>
              <a:gd name="T23" fmla="*/ 2485 h 2892"/>
              <a:gd name="T24" fmla="*/ 231 w 2617"/>
              <a:gd name="T25" fmla="*/ 2305 h 2892"/>
              <a:gd name="T26" fmla="*/ 125 w 2617"/>
              <a:gd name="T27" fmla="*/ 2095 h 2892"/>
              <a:gd name="T28" fmla="*/ 52 w 2617"/>
              <a:gd name="T29" fmla="*/ 1871 h 2892"/>
              <a:gd name="T30" fmla="*/ 11 w 2617"/>
              <a:gd name="T31" fmla="*/ 1634 h 2892"/>
              <a:gd name="T32" fmla="*/ 1 w 2617"/>
              <a:gd name="T33" fmla="*/ 1382 h 2892"/>
              <a:gd name="T34" fmla="*/ 26 w 2617"/>
              <a:gd name="T35" fmla="*/ 1123 h 2892"/>
              <a:gd name="T36" fmla="*/ 86 w 2617"/>
              <a:gd name="T37" fmla="*/ 882 h 2892"/>
              <a:gd name="T38" fmla="*/ 184 w 2617"/>
              <a:gd name="T39" fmla="*/ 660 h 2892"/>
              <a:gd name="T40" fmla="*/ 314 w 2617"/>
              <a:gd name="T41" fmla="*/ 463 h 2892"/>
              <a:gd name="T42" fmla="*/ 478 w 2617"/>
              <a:gd name="T43" fmla="*/ 297 h 2892"/>
              <a:gd name="T44" fmla="*/ 676 w 2617"/>
              <a:gd name="T45" fmla="*/ 163 h 2892"/>
              <a:gd name="T46" fmla="*/ 863 w 2617"/>
              <a:gd name="T47" fmla="*/ 79 h 2892"/>
              <a:gd name="T48" fmla="*/ 1064 w 2617"/>
              <a:gd name="T49" fmla="*/ 27 h 2892"/>
              <a:gd name="T50" fmla="*/ 1292 w 2617"/>
              <a:gd name="T51" fmla="*/ 2 h 2892"/>
              <a:gd name="T52" fmla="*/ 1577 w 2617"/>
              <a:gd name="T53" fmla="*/ 8 h 2892"/>
              <a:gd name="T54" fmla="*/ 1853 w 2617"/>
              <a:gd name="T55" fmla="*/ 55 h 2892"/>
              <a:gd name="T56" fmla="*/ 2020 w 2617"/>
              <a:gd name="T57" fmla="*/ 113 h 2892"/>
              <a:gd name="T58" fmla="*/ 2126 w 2617"/>
              <a:gd name="T59" fmla="*/ 167 h 2892"/>
              <a:gd name="T60" fmla="*/ 2239 w 2617"/>
              <a:gd name="T61" fmla="*/ 246 h 2892"/>
              <a:gd name="T62" fmla="*/ 2393 w 2617"/>
              <a:gd name="T63" fmla="*/ 406 h 2892"/>
              <a:gd name="T64" fmla="*/ 2506 w 2617"/>
              <a:gd name="T65" fmla="*/ 598 h 2892"/>
              <a:gd name="T66" fmla="*/ 2580 w 2617"/>
              <a:gd name="T67" fmla="*/ 823 h 2892"/>
              <a:gd name="T68" fmla="*/ 1983 w 2617"/>
              <a:gd name="T69" fmla="*/ 829 h 2892"/>
              <a:gd name="T70" fmla="*/ 1919 w 2617"/>
              <a:gd name="T71" fmla="*/ 723 h 2892"/>
              <a:gd name="T72" fmla="*/ 1836 w 2617"/>
              <a:gd name="T73" fmla="*/ 633 h 2892"/>
              <a:gd name="T74" fmla="*/ 1732 w 2617"/>
              <a:gd name="T75" fmla="*/ 562 h 2892"/>
              <a:gd name="T76" fmla="*/ 1613 w 2617"/>
              <a:gd name="T77" fmla="*/ 513 h 2892"/>
              <a:gd name="T78" fmla="*/ 1478 w 2617"/>
              <a:gd name="T79" fmla="*/ 487 h 2892"/>
              <a:gd name="T80" fmla="*/ 1299 w 2617"/>
              <a:gd name="T81" fmla="*/ 486 h 2892"/>
              <a:gd name="T82" fmla="*/ 1094 w 2617"/>
              <a:gd name="T83" fmla="*/ 527 h 2892"/>
              <a:gd name="T84" fmla="*/ 952 w 2617"/>
              <a:gd name="T85" fmla="*/ 594 h 2892"/>
              <a:gd name="T86" fmla="*/ 873 w 2617"/>
              <a:gd name="T87" fmla="*/ 649 h 2892"/>
              <a:gd name="T88" fmla="*/ 774 w 2617"/>
              <a:gd name="T89" fmla="*/ 747 h 2892"/>
              <a:gd name="T90" fmla="*/ 715 w 2617"/>
              <a:gd name="T91" fmla="*/ 831 h 2892"/>
              <a:gd name="T92" fmla="*/ 667 w 2617"/>
              <a:gd name="T93" fmla="*/ 926 h 2892"/>
              <a:gd name="T94" fmla="*/ 624 w 2617"/>
              <a:gd name="T95" fmla="*/ 1053 h 2892"/>
              <a:gd name="T96" fmla="*/ 585 w 2617"/>
              <a:gd name="T97" fmla="*/ 1303 h 2892"/>
              <a:gd name="T98" fmla="*/ 590 w 2617"/>
              <a:gd name="T99" fmla="*/ 1592 h 2892"/>
              <a:gd name="T100" fmla="*/ 637 w 2617"/>
              <a:gd name="T101" fmla="*/ 1850 h 2892"/>
              <a:gd name="T102" fmla="*/ 677 w 2617"/>
              <a:gd name="T103" fmla="*/ 1960 h 2892"/>
              <a:gd name="T104" fmla="*/ 729 w 2617"/>
              <a:gd name="T105" fmla="*/ 2059 h 2892"/>
              <a:gd name="T106" fmla="*/ 790 w 2617"/>
              <a:gd name="T107" fmla="*/ 2145 h 2892"/>
              <a:gd name="T108" fmla="*/ 891 w 2617"/>
              <a:gd name="T109" fmla="*/ 2245 h 2892"/>
              <a:gd name="T110" fmla="*/ 972 w 2617"/>
              <a:gd name="T111" fmla="*/ 2303 h 2892"/>
              <a:gd name="T112" fmla="*/ 1059 w 2617"/>
              <a:gd name="T113" fmla="*/ 2348 h 2892"/>
              <a:gd name="T114" fmla="*/ 1173 w 2617"/>
              <a:gd name="T115" fmla="*/ 2386 h 2892"/>
              <a:gd name="T116" fmla="*/ 1383 w 2617"/>
              <a:gd name="T117" fmla="*/ 2410 h 2892"/>
              <a:gd name="T118" fmla="*/ 1516 w 2617"/>
              <a:gd name="T119" fmla="*/ 2400 h 2892"/>
              <a:gd name="T120" fmla="*/ 1740 w 2617"/>
              <a:gd name="T121" fmla="*/ 2340 h 2892"/>
              <a:gd name="T122" fmla="*/ 1943 w 2617"/>
              <a:gd name="T123" fmla="*/ 2242 h 2892"/>
              <a:gd name="T124" fmla="*/ 1398 w 2617"/>
              <a:gd name="T125" fmla="*/ 1817 h 2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17" h="2892">
                <a:moveTo>
                  <a:pt x="1398" y="1817"/>
                </a:moveTo>
                <a:lnTo>
                  <a:pt x="1398" y="1345"/>
                </a:lnTo>
                <a:lnTo>
                  <a:pt x="2617" y="1345"/>
                </a:lnTo>
                <a:lnTo>
                  <a:pt x="2617" y="2459"/>
                </a:lnTo>
                <a:lnTo>
                  <a:pt x="2593" y="2481"/>
                </a:lnTo>
                <a:lnTo>
                  <a:pt x="2569" y="2501"/>
                </a:lnTo>
                <a:lnTo>
                  <a:pt x="2544" y="2523"/>
                </a:lnTo>
                <a:lnTo>
                  <a:pt x="2517" y="2543"/>
                </a:lnTo>
                <a:lnTo>
                  <a:pt x="2489" y="2563"/>
                </a:lnTo>
                <a:lnTo>
                  <a:pt x="2460" y="2582"/>
                </a:lnTo>
                <a:lnTo>
                  <a:pt x="2430" y="2602"/>
                </a:lnTo>
                <a:lnTo>
                  <a:pt x="2398" y="2621"/>
                </a:lnTo>
                <a:lnTo>
                  <a:pt x="2366" y="2640"/>
                </a:lnTo>
                <a:lnTo>
                  <a:pt x="2331" y="2658"/>
                </a:lnTo>
                <a:lnTo>
                  <a:pt x="2297" y="2676"/>
                </a:lnTo>
                <a:lnTo>
                  <a:pt x="2260" y="2695"/>
                </a:lnTo>
                <a:lnTo>
                  <a:pt x="2222" y="2712"/>
                </a:lnTo>
                <a:lnTo>
                  <a:pt x="2184" y="2729"/>
                </a:lnTo>
                <a:lnTo>
                  <a:pt x="2144" y="2745"/>
                </a:lnTo>
                <a:lnTo>
                  <a:pt x="2101" y="2763"/>
                </a:lnTo>
                <a:lnTo>
                  <a:pt x="2059" y="2778"/>
                </a:lnTo>
                <a:lnTo>
                  <a:pt x="2017" y="2793"/>
                </a:lnTo>
                <a:lnTo>
                  <a:pt x="1975" y="2807"/>
                </a:lnTo>
                <a:lnTo>
                  <a:pt x="1933" y="2819"/>
                </a:lnTo>
                <a:lnTo>
                  <a:pt x="1890" y="2831"/>
                </a:lnTo>
                <a:lnTo>
                  <a:pt x="1848" y="2842"/>
                </a:lnTo>
                <a:lnTo>
                  <a:pt x="1806" y="2851"/>
                </a:lnTo>
                <a:lnTo>
                  <a:pt x="1762" y="2860"/>
                </a:lnTo>
                <a:lnTo>
                  <a:pt x="1720" y="2867"/>
                </a:lnTo>
                <a:lnTo>
                  <a:pt x="1677" y="2874"/>
                </a:lnTo>
                <a:lnTo>
                  <a:pt x="1635" y="2879"/>
                </a:lnTo>
                <a:lnTo>
                  <a:pt x="1592" y="2885"/>
                </a:lnTo>
                <a:lnTo>
                  <a:pt x="1549" y="2888"/>
                </a:lnTo>
                <a:lnTo>
                  <a:pt x="1505" y="2890"/>
                </a:lnTo>
                <a:lnTo>
                  <a:pt x="1463" y="2892"/>
                </a:lnTo>
                <a:lnTo>
                  <a:pt x="1420" y="2892"/>
                </a:lnTo>
                <a:lnTo>
                  <a:pt x="1365" y="2892"/>
                </a:lnTo>
                <a:lnTo>
                  <a:pt x="1312" y="2890"/>
                </a:lnTo>
                <a:lnTo>
                  <a:pt x="1259" y="2886"/>
                </a:lnTo>
                <a:lnTo>
                  <a:pt x="1207" y="2881"/>
                </a:lnTo>
                <a:lnTo>
                  <a:pt x="1157" y="2875"/>
                </a:lnTo>
                <a:lnTo>
                  <a:pt x="1107" y="2866"/>
                </a:lnTo>
                <a:lnTo>
                  <a:pt x="1057" y="2858"/>
                </a:lnTo>
                <a:lnTo>
                  <a:pt x="1009" y="2847"/>
                </a:lnTo>
                <a:lnTo>
                  <a:pt x="962" y="2835"/>
                </a:lnTo>
                <a:lnTo>
                  <a:pt x="915" y="2821"/>
                </a:lnTo>
                <a:lnTo>
                  <a:pt x="869" y="2806"/>
                </a:lnTo>
                <a:lnTo>
                  <a:pt x="825" y="2790"/>
                </a:lnTo>
                <a:lnTo>
                  <a:pt x="781" y="2771"/>
                </a:lnTo>
                <a:lnTo>
                  <a:pt x="738" y="2752"/>
                </a:lnTo>
                <a:lnTo>
                  <a:pt x="695" y="2731"/>
                </a:lnTo>
                <a:lnTo>
                  <a:pt x="654" y="2709"/>
                </a:lnTo>
                <a:lnTo>
                  <a:pt x="614" y="2685"/>
                </a:lnTo>
                <a:lnTo>
                  <a:pt x="576" y="2660"/>
                </a:lnTo>
                <a:lnTo>
                  <a:pt x="538" y="2634"/>
                </a:lnTo>
                <a:lnTo>
                  <a:pt x="501" y="2607"/>
                </a:lnTo>
                <a:lnTo>
                  <a:pt x="466" y="2578"/>
                </a:lnTo>
                <a:lnTo>
                  <a:pt x="433" y="2549"/>
                </a:lnTo>
                <a:lnTo>
                  <a:pt x="401" y="2518"/>
                </a:lnTo>
                <a:lnTo>
                  <a:pt x="369" y="2485"/>
                </a:lnTo>
                <a:lnTo>
                  <a:pt x="339" y="2452"/>
                </a:lnTo>
                <a:lnTo>
                  <a:pt x="310" y="2417"/>
                </a:lnTo>
                <a:lnTo>
                  <a:pt x="283" y="2380"/>
                </a:lnTo>
                <a:lnTo>
                  <a:pt x="256" y="2344"/>
                </a:lnTo>
                <a:lnTo>
                  <a:pt x="231" y="2305"/>
                </a:lnTo>
                <a:lnTo>
                  <a:pt x="207" y="2265"/>
                </a:lnTo>
                <a:lnTo>
                  <a:pt x="186" y="2224"/>
                </a:lnTo>
                <a:lnTo>
                  <a:pt x="164" y="2182"/>
                </a:lnTo>
                <a:lnTo>
                  <a:pt x="145" y="2138"/>
                </a:lnTo>
                <a:lnTo>
                  <a:pt x="125" y="2095"/>
                </a:lnTo>
                <a:lnTo>
                  <a:pt x="108" y="2051"/>
                </a:lnTo>
                <a:lnTo>
                  <a:pt x="93" y="2007"/>
                </a:lnTo>
                <a:lnTo>
                  <a:pt x="78" y="1962"/>
                </a:lnTo>
                <a:lnTo>
                  <a:pt x="64" y="1917"/>
                </a:lnTo>
                <a:lnTo>
                  <a:pt x="52" y="1871"/>
                </a:lnTo>
                <a:lnTo>
                  <a:pt x="41" y="1824"/>
                </a:lnTo>
                <a:lnTo>
                  <a:pt x="31" y="1778"/>
                </a:lnTo>
                <a:lnTo>
                  <a:pt x="23" y="1730"/>
                </a:lnTo>
                <a:lnTo>
                  <a:pt x="16" y="1683"/>
                </a:lnTo>
                <a:lnTo>
                  <a:pt x="11" y="1634"/>
                </a:lnTo>
                <a:lnTo>
                  <a:pt x="5" y="1585"/>
                </a:lnTo>
                <a:lnTo>
                  <a:pt x="2" y="1537"/>
                </a:lnTo>
                <a:lnTo>
                  <a:pt x="1" y="1487"/>
                </a:lnTo>
                <a:lnTo>
                  <a:pt x="0" y="1436"/>
                </a:lnTo>
                <a:lnTo>
                  <a:pt x="1" y="1382"/>
                </a:lnTo>
                <a:lnTo>
                  <a:pt x="3" y="1330"/>
                </a:lnTo>
                <a:lnTo>
                  <a:pt x="6" y="1277"/>
                </a:lnTo>
                <a:lnTo>
                  <a:pt x="12" y="1225"/>
                </a:lnTo>
                <a:lnTo>
                  <a:pt x="18" y="1173"/>
                </a:lnTo>
                <a:lnTo>
                  <a:pt x="26" y="1123"/>
                </a:lnTo>
                <a:lnTo>
                  <a:pt x="36" y="1074"/>
                </a:lnTo>
                <a:lnTo>
                  <a:pt x="46" y="1024"/>
                </a:lnTo>
                <a:lnTo>
                  <a:pt x="58" y="976"/>
                </a:lnTo>
                <a:lnTo>
                  <a:pt x="71" y="929"/>
                </a:lnTo>
                <a:lnTo>
                  <a:pt x="86" y="882"/>
                </a:lnTo>
                <a:lnTo>
                  <a:pt x="103" y="836"/>
                </a:lnTo>
                <a:lnTo>
                  <a:pt x="121" y="791"/>
                </a:lnTo>
                <a:lnTo>
                  <a:pt x="140" y="746"/>
                </a:lnTo>
                <a:lnTo>
                  <a:pt x="161" y="703"/>
                </a:lnTo>
                <a:lnTo>
                  <a:pt x="184" y="660"/>
                </a:lnTo>
                <a:lnTo>
                  <a:pt x="206" y="618"/>
                </a:lnTo>
                <a:lnTo>
                  <a:pt x="231" y="578"/>
                </a:lnTo>
                <a:lnTo>
                  <a:pt x="258" y="538"/>
                </a:lnTo>
                <a:lnTo>
                  <a:pt x="285" y="500"/>
                </a:lnTo>
                <a:lnTo>
                  <a:pt x="314" y="463"/>
                </a:lnTo>
                <a:lnTo>
                  <a:pt x="344" y="428"/>
                </a:lnTo>
                <a:lnTo>
                  <a:pt x="376" y="393"/>
                </a:lnTo>
                <a:lnTo>
                  <a:pt x="409" y="360"/>
                </a:lnTo>
                <a:lnTo>
                  <a:pt x="443" y="328"/>
                </a:lnTo>
                <a:lnTo>
                  <a:pt x="478" y="297"/>
                </a:lnTo>
                <a:lnTo>
                  <a:pt x="515" y="268"/>
                </a:lnTo>
                <a:lnTo>
                  <a:pt x="554" y="240"/>
                </a:lnTo>
                <a:lnTo>
                  <a:pt x="593" y="213"/>
                </a:lnTo>
                <a:lnTo>
                  <a:pt x="634" y="187"/>
                </a:lnTo>
                <a:lnTo>
                  <a:pt x="676" y="163"/>
                </a:lnTo>
                <a:lnTo>
                  <a:pt x="719" y="139"/>
                </a:lnTo>
                <a:lnTo>
                  <a:pt x="754" y="122"/>
                </a:lnTo>
                <a:lnTo>
                  <a:pt x="789" y="107"/>
                </a:lnTo>
                <a:lnTo>
                  <a:pt x="825" y="92"/>
                </a:lnTo>
                <a:lnTo>
                  <a:pt x="863" y="79"/>
                </a:lnTo>
                <a:lnTo>
                  <a:pt x="901" y="66"/>
                </a:lnTo>
                <a:lnTo>
                  <a:pt x="939" y="54"/>
                </a:lnTo>
                <a:lnTo>
                  <a:pt x="981" y="44"/>
                </a:lnTo>
                <a:lnTo>
                  <a:pt x="1022" y="35"/>
                </a:lnTo>
                <a:lnTo>
                  <a:pt x="1064" y="27"/>
                </a:lnTo>
                <a:lnTo>
                  <a:pt x="1107" y="19"/>
                </a:lnTo>
                <a:lnTo>
                  <a:pt x="1151" y="14"/>
                </a:lnTo>
                <a:lnTo>
                  <a:pt x="1198" y="9"/>
                </a:lnTo>
                <a:lnTo>
                  <a:pt x="1244" y="5"/>
                </a:lnTo>
                <a:lnTo>
                  <a:pt x="1292" y="2"/>
                </a:lnTo>
                <a:lnTo>
                  <a:pt x="1340" y="1"/>
                </a:lnTo>
                <a:lnTo>
                  <a:pt x="1389" y="0"/>
                </a:lnTo>
                <a:lnTo>
                  <a:pt x="1454" y="1"/>
                </a:lnTo>
                <a:lnTo>
                  <a:pt x="1516" y="3"/>
                </a:lnTo>
                <a:lnTo>
                  <a:pt x="1577" y="8"/>
                </a:lnTo>
                <a:lnTo>
                  <a:pt x="1635" y="14"/>
                </a:lnTo>
                <a:lnTo>
                  <a:pt x="1692" y="22"/>
                </a:lnTo>
                <a:lnTo>
                  <a:pt x="1747" y="31"/>
                </a:lnTo>
                <a:lnTo>
                  <a:pt x="1801" y="42"/>
                </a:lnTo>
                <a:lnTo>
                  <a:pt x="1853" y="55"/>
                </a:lnTo>
                <a:lnTo>
                  <a:pt x="1903" y="69"/>
                </a:lnTo>
                <a:lnTo>
                  <a:pt x="1951" y="85"/>
                </a:lnTo>
                <a:lnTo>
                  <a:pt x="1975" y="94"/>
                </a:lnTo>
                <a:lnTo>
                  <a:pt x="1998" y="104"/>
                </a:lnTo>
                <a:lnTo>
                  <a:pt x="2020" y="113"/>
                </a:lnTo>
                <a:lnTo>
                  <a:pt x="2042" y="123"/>
                </a:lnTo>
                <a:lnTo>
                  <a:pt x="2064" y="133"/>
                </a:lnTo>
                <a:lnTo>
                  <a:pt x="2085" y="144"/>
                </a:lnTo>
                <a:lnTo>
                  <a:pt x="2106" y="156"/>
                </a:lnTo>
                <a:lnTo>
                  <a:pt x="2126" y="167"/>
                </a:lnTo>
                <a:lnTo>
                  <a:pt x="2146" y="179"/>
                </a:lnTo>
                <a:lnTo>
                  <a:pt x="2165" y="192"/>
                </a:lnTo>
                <a:lnTo>
                  <a:pt x="2185" y="205"/>
                </a:lnTo>
                <a:lnTo>
                  <a:pt x="2203" y="218"/>
                </a:lnTo>
                <a:lnTo>
                  <a:pt x="2239" y="246"/>
                </a:lnTo>
                <a:lnTo>
                  <a:pt x="2272" y="275"/>
                </a:lnTo>
                <a:lnTo>
                  <a:pt x="2306" y="306"/>
                </a:lnTo>
                <a:lnTo>
                  <a:pt x="2336" y="338"/>
                </a:lnTo>
                <a:lnTo>
                  <a:pt x="2365" y="372"/>
                </a:lnTo>
                <a:lnTo>
                  <a:pt x="2393" y="406"/>
                </a:lnTo>
                <a:lnTo>
                  <a:pt x="2419" y="442"/>
                </a:lnTo>
                <a:lnTo>
                  <a:pt x="2444" y="478"/>
                </a:lnTo>
                <a:lnTo>
                  <a:pt x="2466" y="517"/>
                </a:lnTo>
                <a:lnTo>
                  <a:pt x="2487" y="557"/>
                </a:lnTo>
                <a:lnTo>
                  <a:pt x="2506" y="598"/>
                </a:lnTo>
                <a:lnTo>
                  <a:pt x="2525" y="640"/>
                </a:lnTo>
                <a:lnTo>
                  <a:pt x="2541" y="684"/>
                </a:lnTo>
                <a:lnTo>
                  <a:pt x="2555" y="729"/>
                </a:lnTo>
                <a:lnTo>
                  <a:pt x="2568" y="775"/>
                </a:lnTo>
                <a:lnTo>
                  <a:pt x="2580" y="823"/>
                </a:lnTo>
                <a:lnTo>
                  <a:pt x="2019" y="928"/>
                </a:lnTo>
                <a:lnTo>
                  <a:pt x="2011" y="902"/>
                </a:lnTo>
                <a:lnTo>
                  <a:pt x="2002" y="877"/>
                </a:lnTo>
                <a:lnTo>
                  <a:pt x="1993" y="853"/>
                </a:lnTo>
                <a:lnTo>
                  <a:pt x="1983" y="829"/>
                </a:lnTo>
                <a:lnTo>
                  <a:pt x="1972" y="807"/>
                </a:lnTo>
                <a:lnTo>
                  <a:pt x="1960" y="785"/>
                </a:lnTo>
                <a:lnTo>
                  <a:pt x="1947" y="764"/>
                </a:lnTo>
                <a:lnTo>
                  <a:pt x="1933" y="743"/>
                </a:lnTo>
                <a:lnTo>
                  <a:pt x="1919" y="723"/>
                </a:lnTo>
                <a:lnTo>
                  <a:pt x="1904" y="703"/>
                </a:lnTo>
                <a:lnTo>
                  <a:pt x="1888" y="685"/>
                </a:lnTo>
                <a:lnTo>
                  <a:pt x="1871" y="667"/>
                </a:lnTo>
                <a:lnTo>
                  <a:pt x="1854" y="650"/>
                </a:lnTo>
                <a:lnTo>
                  <a:pt x="1836" y="633"/>
                </a:lnTo>
                <a:lnTo>
                  <a:pt x="1816" y="617"/>
                </a:lnTo>
                <a:lnTo>
                  <a:pt x="1796" y="602"/>
                </a:lnTo>
                <a:lnTo>
                  <a:pt x="1775" y="588"/>
                </a:lnTo>
                <a:lnTo>
                  <a:pt x="1754" y="574"/>
                </a:lnTo>
                <a:lnTo>
                  <a:pt x="1732" y="562"/>
                </a:lnTo>
                <a:lnTo>
                  <a:pt x="1709" y="550"/>
                </a:lnTo>
                <a:lnTo>
                  <a:pt x="1687" y="539"/>
                </a:lnTo>
                <a:lnTo>
                  <a:pt x="1663" y="529"/>
                </a:lnTo>
                <a:lnTo>
                  <a:pt x="1638" y="521"/>
                </a:lnTo>
                <a:lnTo>
                  <a:pt x="1613" y="513"/>
                </a:lnTo>
                <a:lnTo>
                  <a:pt x="1587" y="505"/>
                </a:lnTo>
                <a:lnTo>
                  <a:pt x="1560" y="499"/>
                </a:lnTo>
                <a:lnTo>
                  <a:pt x="1533" y="495"/>
                </a:lnTo>
                <a:lnTo>
                  <a:pt x="1506" y="490"/>
                </a:lnTo>
                <a:lnTo>
                  <a:pt x="1478" y="487"/>
                </a:lnTo>
                <a:lnTo>
                  <a:pt x="1449" y="485"/>
                </a:lnTo>
                <a:lnTo>
                  <a:pt x="1419" y="483"/>
                </a:lnTo>
                <a:lnTo>
                  <a:pt x="1389" y="483"/>
                </a:lnTo>
                <a:lnTo>
                  <a:pt x="1343" y="484"/>
                </a:lnTo>
                <a:lnTo>
                  <a:pt x="1299" y="486"/>
                </a:lnTo>
                <a:lnTo>
                  <a:pt x="1256" y="491"/>
                </a:lnTo>
                <a:lnTo>
                  <a:pt x="1214" y="497"/>
                </a:lnTo>
                <a:lnTo>
                  <a:pt x="1173" y="505"/>
                </a:lnTo>
                <a:lnTo>
                  <a:pt x="1133" y="515"/>
                </a:lnTo>
                <a:lnTo>
                  <a:pt x="1094" y="527"/>
                </a:lnTo>
                <a:lnTo>
                  <a:pt x="1057" y="541"/>
                </a:lnTo>
                <a:lnTo>
                  <a:pt x="1020" y="557"/>
                </a:lnTo>
                <a:lnTo>
                  <a:pt x="986" y="575"/>
                </a:lnTo>
                <a:lnTo>
                  <a:pt x="969" y="583"/>
                </a:lnTo>
                <a:lnTo>
                  <a:pt x="952" y="594"/>
                </a:lnTo>
                <a:lnTo>
                  <a:pt x="935" y="604"/>
                </a:lnTo>
                <a:lnTo>
                  <a:pt x="919" y="615"/>
                </a:lnTo>
                <a:lnTo>
                  <a:pt x="904" y="625"/>
                </a:lnTo>
                <a:lnTo>
                  <a:pt x="888" y="637"/>
                </a:lnTo>
                <a:lnTo>
                  <a:pt x="873" y="649"/>
                </a:lnTo>
                <a:lnTo>
                  <a:pt x="857" y="662"/>
                </a:lnTo>
                <a:lnTo>
                  <a:pt x="828" y="689"/>
                </a:lnTo>
                <a:lnTo>
                  <a:pt x="800" y="717"/>
                </a:lnTo>
                <a:lnTo>
                  <a:pt x="787" y="732"/>
                </a:lnTo>
                <a:lnTo>
                  <a:pt x="774" y="747"/>
                </a:lnTo>
                <a:lnTo>
                  <a:pt x="761" y="764"/>
                </a:lnTo>
                <a:lnTo>
                  <a:pt x="749" y="780"/>
                </a:lnTo>
                <a:lnTo>
                  <a:pt x="738" y="796"/>
                </a:lnTo>
                <a:lnTo>
                  <a:pt x="726" y="813"/>
                </a:lnTo>
                <a:lnTo>
                  <a:pt x="715" y="831"/>
                </a:lnTo>
                <a:lnTo>
                  <a:pt x="705" y="849"/>
                </a:lnTo>
                <a:lnTo>
                  <a:pt x="694" y="867"/>
                </a:lnTo>
                <a:lnTo>
                  <a:pt x="686" y="887"/>
                </a:lnTo>
                <a:lnTo>
                  <a:pt x="676" y="906"/>
                </a:lnTo>
                <a:lnTo>
                  <a:pt x="667" y="926"/>
                </a:lnTo>
                <a:lnTo>
                  <a:pt x="659" y="946"/>
                </a:lnTo>
                <a:lnTo>
                  <a:pt x="651" y="967"/>
                </a:lnTo>
                <a:lnTo>
                  <a:pt x="644" y="987"/>
                </a:lnTo>
                <a:lnTo>
                  <a:pt x="637" y="1009"/>
                </a:lnTo>
                <a:lnTo>
                  <a:pt x="624" y="1053"/>
                </a:lnTo>
                <a:lnTo>
                  <a:pt x="613" y="1099"/>
                </a:lnTo>
                <a:lnTo>
                  <a:pt x="604" y="1148"/>
                </a:lnTo>
                <a:lnTo>
                  <a:pt x="596" y="1198"/>
                </a:lnTo>
                <a:lnTo>
                  <a:pt x="590" y="1249"/>
                </a:lnTo>
                <a:lnTo>
                  <a:pt x="585" y="1303"/>
                </a:lnTo>
                <a:lnTo>
                  <a:pt x="583" y="1358"/>
                </a:lnTo>
                <a:lnTo>
                  <a:pt x="582" y="1414"/>
                </a:lnTo>
                <a:lnTo>
                  <a:pt x="583" y="1475"/>
                </a:lnTo>
                <a:lnTo>
                  <a:pt x="585" y="1535"/>
                </a:lnTo>
                <a:lnTo>
                  <a:pt x="590" y="1592"/>
                </a:lnTo>
                <a:lnTo>
                  <a:pt x="596" y="1647"/>
                </a:lnTo>
                <a:lnTo>
                  <a:pt x="604" y="1701"/>
                </a:lnTo>
                <a:lnTo>
                  <a:pt x="613" y="1753"/>
                </a:lnTo>
                <a:lnTo>
                  <a:pt x="624" y="1801"/>
                </a:lnTo>
                <a:lnTo>
                  <a:pt x="637" y="1850"/>
                </a:lnTo>
                <a:lnTo>
                  <a:pt x="645" y="1873"/>
                </a:lnTo>
                <a:lnTo>
                  <a:pt x="652" y="1895"/>
                </a:lnTo>
                <a:lnTo>
                  <a:pt x="660" y="1917"/>
                </a:lnTo>
                <a:lnTo>
                  <a:pt x="668" y="1940"/>
                </a:lnTo>
                <a:lnTo>
                  <a:pt x="677" y="1960"/>
                </a:lnTo>
                <a:lnTo>
                  <a:pt x="687" y="1981"/>
                </a:lnTo>
                <a:lnTo>
                  <a:pt x="697" y="2001"/>
                </a:lnTo>
                <a:lnTo>
                  <a:pt x="706" y="2021"/>
                </a:lnTo>
                <a:lnTo>
                  <a:pt x="717" y="2040"/>
                </a:lnTo>
                <a:lnTo>
                  <a:pt x="729" y="2059"/>
                </a:lnTo>
                <a:lnTo>
                  <a:pt x="740" y="2077"/>
                </a:lnTo>
                <a:lnTo>
                  <a:pt x="752" y="2095"/>
                </a:lnTo>
                <a:lnTo>
                  <a:pt x="765" y="2113"/>
                </a:lnTo>
                <a:lnTo>
                  <a:pt x="776" y="2129"/>
                </a:lnTo>
                <a:lnTo>
                  <a:pt x="790" y="2145"/>
                </a:lnTo>
                <a:lnTo>
                  <a:pt x="803" y="2161"/>
                </a:lnTo>
                <a:lnTo>
                  <a:pt x="831" y="2191"/>
                </a:lnTo>
                <a:lnTo>
                  <a:pt x="861" y="2219"/>
                </a:lnTo>
                <a:lnTo>
                  <a:pt x="876" y="2232"/>
                </a:lnTo>
                <a:lnTo>
                  <a:pt x="891" y="2245"/>
                </a:lnTo>
                <a:lnTo>
                  <a:pt x="907" y="2258"/>
                </a:lnTo>
                <a:lnTo>
                  <a:pt x="923" y="2270"/>
                </a:lnTo>
                <a:lnTo>
                  <a:pt x="938" y="2282"/>
                </a:lnTo>
                <a:lnTo>
                  <a:pt x="956" y="2293"/>
                </a:lnTo>
                <a:lnTo>
                  <a:pt x="972" y="2303"/>
                </a:lnTo>
                <a:lnTo>
                  <a:pt x="989" y="2313"/>
                </a:lnTo>
                <a:lnTo>
                  <a:pt x="1006" y="2322"/>
                </a:lnTo>
                <a:lnTo>
                  <a:pt x="1024" y="2332"/>
                </a:lnTo>
                <a:lnTo>
                  <a:pt x="1041" y="2339"/>
                </a:lnTo>
                <a:lnTo>
                  <a:pt x="1059" y="2348"/>
                </a:lnTo>
                <a:lnTo>
                  <a:pt x="1078" y="2356"/>
                </a:lnTo>
                <a:lnTo>
                  <a:pt x="1096" y="2362"/>
                </a:lnTo>
                <a:lnTo>
                  <a:pt x="1114" y="2368"/>
                </a:lnTo>
                <a:lnTo>
                  <a:pt x="1134" y="2375"/>
                </a:lnTo>
                <a:lnTo>
                  <a:pt x="1173" y="2386"/>
                </a:lnTo>
                <a:lnTo>
                  <a:pt x="1213" y="2394"/>
                </a:lnTo>
                <a:lnTo>
                  <a:pt x="1254" y="2401"/>
                </a:lnTo>
                <a:lnTo>
                  <a:pt x="1296" y="2406"/>
                </a:lnTo>
                <a:lnTo>
                  <a:pt x="1339" y="2410"/>
                </a:lnTo>
                <a:lnTo>
                  <a:pt x="1383" y="2410"/>
                </a:lnTo>
                <a:lnTo>
                  <a:pt x="1406" y="2410"/>
                </a:lnTo>
                <a:lnTo>
                  <a:pt x="1428" y="2408"/>
                </a:lnTo>
                <a:lnTo>
                  <a:pt x="1450" y="2407"/>
                </a:lnTo>
                <a:lnTo>
                  <a:pt x="1472" y="2405"/>
                </a:lnTo>
                <a:lnTo>
                  <a:pt x="1516" y="2400"/>
                </a:lnTo>
                <a:lnTo>
                  <a:pt x="1562" y="2392"/>
                </a:lnTo>
                <a:lnTo>
                  <a:pt x="1606" y="2383"/>
                </a:lnTo>
                <a:lnTo>
                  <a:pt x="1650" y="2371"/>
                </a:lnTo>
                <a:lnTo>
                  <a:pt x="1695" y="2357"/>
                </a:lnTo>
                <a:lnTo>
                  <a:pt x="1740" y="2340"/>
                </a:lnTo>
                <a:lnTo>
                  <a:pt x="1783" y="2322"/>
                </a:lnTo>
                <a:lnTo>
                  <a:pt x="1825" y="2304"/>
                </a:lnTo>
                <a:lnTo>
                  <a:pt x="1866" y="2284"/>
                </a:lnTo>
                <a:lnTo>
                  <a:pt x="1905" y="2264"/>
                </a:lnTo>
                <a:lnTo>
                  <a:pt x="1943" y="2242"/>
                </a:lnTo>
                <a:lnTo>
                  <a:pt x="1978" y="2219"/>
                </a:lnTo>
                <a:lnTo>
                  <a:pt x="2013" y="2196"/>
                </a:lnTo>
                <a:lnTo>
                  <a:pt x="2045" y="2172"/>
                </a:lnTo>
                <a:lnTo>
                  <a:pt x="2045" y="1817"/>
                </a:lnTo>
                <a:lnTo>
                  <a:pt x="1398" y="1817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6" name="Freeform 8"/>
          <p:cNvSpPr>
            <a:spLocks noEditPoints="1"/>
          </p:cNvSpPr>
          <p:nvPr/>
        </p:nvSpPr>
        <p:spPr bwMode="auto">
          <a:xfrm>
            <a:off x="3174526" y="2173970"/>
            <a:ext cx="1733550" cy="1733550"/>
          </a:xfrm>
          <a:custGeom>
            <a:avLst/>
            <a:gdLst>
              <a:gd name="T0" fmla="*/ 2043 w 3456"/>
              <a:gd name="T1" fmla="*/ 373 h 3456"/>
              <a:gd name="T2" fmla="*/ 2320 w 3456"/>
              <a:gd name="T3" fmla="*/ 469 h 3456"/>
              <a:gd name="T4" fmla="*/ 2567 w 3456"/>
              <a:gd name="T5" fmla="*/ 619 h 3456"/>
              <a:gd name="T6" fmla="*/ 2777 w 3456"/>
              <a:gd name="T7" fmla="*/ 814 h 3456"/>
              <a:gd name="T8" fmla="*/ 2942 w 3456"/>
              <a:gd name="T9" fmla="*/ 1050 h 3456"/>
              <a:gd name="T10" fmla="*/ 3057 w 3456"/>
              <a:gd name="T11" fmla="*/ 1318 h 3456"/>
              <a:gd name="T12" fmla="*/ 3113 w 3456"/>
              <a:gd name="T13" fmla="*/ 1611 h 3456"/>
              <a:gd name="T14" fmla="*/ 3106 w 3456"/>
              <a:gd name="T15" fmla="*/ 1913 h 3456"/>
              <a:gd name="T16" fmla="*/ 3037 w 3456"/>
              <a:gd name="T17" fmla="*/ 2201 h 3456"/>
              <a:gd name="T18" fmla="*/ 2909 w 3456"/>
              <a:gd name="T19" fmla="*/ 2461 h 3456"/>
              <a:gd name="T20" fmla="*/ 2733 w 3456"/>
              <a:gd name="T21" fmla="*/ 2689 h 3456"/>
              <a:gd name="T22" fmla="*/ 2515 w 3456"/>
              <a:gd name="T23" fmla="*/ 2875 h 3456"/>
              <a:gd name="T24" fmla="*/ 2260 w 3456"/>
              <a:gd name="T25" fmla="*/ 3013 h 3456"/>
              <a:gd name="T26" fmla="*/ 1977 w 3456"/>
              <a:gd name="T27" fmla="*/ 3096 h 3456"/>
              <a:gd name="T28" fmla="*/ 1678 w 3456"/>
              <a:gd name="T29" fmla="*/ 3118 h 3456"/>
              <a:gd name="T30" fmla="*/ 1380 w 3456"/>
              <a:gd name="T31" fmla="*/ 3076 h 3456"/>
              <a:gd name="T32" fmla="*/ 1107 w 3456"/>
              <a:gd name="T33" fmla="*/ 2973 h 3456"/>
              <a:gd name="T34" fmla="*/ 863 w 3456"/>
              <a:gd name="T35" fmla="*/ 2818 h 3456"/>
              <a:gd name="T36" fmla="*/ 658 w 3456"/>
              <a:gd name="T37" fmla="*/ 2617 h 3456"/>
              <a:gd name="T38" fmla="*/ 498 w 3456"/>
              <a:gd name="T39" fmla="*/ 2378 h 3456"/>
              <a:gd name="T40" fmla="*/ 389 w 3456"/>
              <a:gd name="T41" fmla="*/ 2107 h 3456"/>
              <a:gd name="T42" fmla="*/ 339 w 3456"/>
              <a:gd name="T43" fmla="*/ 1811 h 3456"/>
              <a:gd name="T44" fmla="*/ 354 w 3456"/>
              <a:gd name="T45" fmla="*/ 1511 h 3456"/>
              <a:gd name="T46" fmla="*/ 431 w 3456"/>
              <a:gd name="T47" fmla="*/ 1226 h 3456"/>
              <a:gd name="T48" fmla="*/ 563 w 3456"/>
              <a:gd name="T49" fmla="*/ 968 h 3456"/>
              <a:gd name="T50" fmla="*/ 744 w 3456"/>
              <a:gd name="T51" fmla="*/ 744 h 3456"/>
              <a:gd name="T52" fmla="*/ 968 w 3456"/>
              <a:gd name="T53" fmla="*/ 564 h 3456"/>
              <a:gd name="T54" fmla="*/ 1225 w 3456"/>
              <a:gd name="T55" fmla="*/ 431 h 3456"/>
              <a:gd name="T56" fmla="*/ 1511 w 3456"/>
              <a:gd name="T57" fmla="*/ 354 h 3456"/>
              <a:gd name="T58" fmla="*/ 2572 w 3456"/>
              <a:gd name="T59" fmla="*/ 883 h 3456"/>
              <a:gd name="T60" fmla="*/ 2372 w 3456"/>
              <a:gd name="T61" fmla="*/ 723 h 3456"/>
              <a:gd name="T62" fmla="*/ 2138 w 3456"/>
              <a:gd name="T63" fmla="*/ 607 h 3456"/>
              <a:gd name="T64" fmla="*/ 1880 w 3456"/>
              <a:gd name="T65" fmla="*/ 544 h 3456"/>
              <a:gd name="T66" fmla="*/ 1606 w 3456"/>
              <a:gd name="T67" fmla="*/ 540 h 3456"/>
              <a:gd name="T68" fmla="*/ 1345 w 3456"/>
              <a:gd name="T69" fmla="*/ 597 h 3456"/>
              <a:gd name="T70" fmla="*/ 1109 w 3456"/>
              <a:gd name="T71" fmla="*/ 707 h 3456"/>
              <a:gd name="T72" fmla="*/ 904 w 3456"/>
              <a:gd name="T73" fmla="*/ 864 h 3456"/>
              <a:gd name="T74" fmla="*/ 738 w 3456"/>
              <a:gd name="T75" fmla="*/ 1061 h 3456"/>
              <a:gd name="T76" fmla="*/ 617 w 3456"/>
              <a:gd name="T77" fmla="*/ 1291 h 3456"/>
              <a:gd name="T78" fmla="*/ 548 w 3456"/>
              <a:gd name="T79" fmla="*/ 1547 h 3456"/>
              <a:gd name="T80" fmla="*/ 537 w 3456"/>
              <a:gd name="T81" fmla="*/ 1820 h 3456"/>
              <a:gd name="T82" fmla="*/ 588 w 3456"/>
              <a:gd name="T83" fmla="*/ 2083 h 3456"/>
              <a:gd name="T84" fmla="*/ 692 w 3456"/>
              <a:gd name="T85" fmla="*/ 2322 h 3456"/>
              <a:gd name="T86" fmla="*/ 843 w 3456"/>
              <a:gd name="T87" fmla="*/ 2532 h 3456"/>
              <a:gd name="T88" fmla="*/ 1037 w 3456"/>
              <a:gd name="T89" fmla="*/ 2702 h 3456"/>
              <a:gd name="T90" fmla="*/ 1262 w 3456"/>
              <a:gd name="T91" fmla="*/ 2829 h 3456"/>
              <a:gd name="T92" fmla="*/ 1516 w 3456"/>
              <a:gd name="T93" fmla="*/ 2903 h 3456"/>
              <a:gd name="T94" fmla="*/ 1789 w 3456"/>
              <a:gd name="T95" fmla="*/ 2920 h 3456"/>
              <a:gd name="T96" fmla="*/ 2054 w 3456"/>
              <a:gd name="T97" fmla="*/ 2877 h 3456"/>
              <a:gd name="T98" fmla="*/ 2297 w 3456"/>
              <a:gd name="T99" fmla="*/ 2778 h 3456"/>
              <a:gd name="T100" fmla="*/ 2509 w 3456"/>
              <a:gd name="T101" fmla="*/ 2631 h 3456"/>
              <a:gd name="T102" fmla="*/ 2685 w 3456"/>
              <a:gd name="T103" fmla="*/ 2443 h 3456"/>
              <a:gd name="T104" fmla="*/ 2816 w 3456"/>
              <a:gd name="T105" fmla="*/ 2219 h 3456"/>
              <a:gd name="T106" fmla="*/ 2897 w 3456"/>
              <a:gd name="T107" fmla="*/ 1969 h 3456"/>
              <a:gd name="T108" fmla="*/ 2921 w 3456"/>
              <a:gd name="T109" fmla="*/ 1698 h 3456"/>
              <a:gd name="T110" fmla="*/ 2885 w 3456"/>
              <a:gd name="T111" fmla="*/ 1430 h 3456"/>
              <a:gd name="T112" fmla="*/ 2791 w 3456"/>
              <a:gd name="T113" fmla="*/ 1185 h 3456"/>
              <a:gd name="T114" fmla="*/ 2649 w 3456"/>
              <a:gd name="T115" fmla="*/ 969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3456">
                <a:moveTo>
                  <a:pt x="1777" y="338"/>
                </a:moveTo>
                <a:lnTo>
                  <a:pt x="1811" y="340"/>
                </a:lnTo>
                <a:lnTo>
                  <a:pt x="1845" y="342"/>
                </a:lnTo>
                <a:lnTo>
                  <a:pt x="1878" y="346"/>
                </a:lnTo>
                <a:lnTo>
                  <a:pt x="1912" y="349"/>
                </a:lnTo>
                <a:lnTo>
                  <a:pt x="1945" y="354"/>
                </a:lnTo>
                <a:lnTo>
                  <a:pt x="1977" y="360"/>
                </a:lnTo>
                <a:lnTo>
                  <a:pt x="2011" y="366"/>
                </a:lnTo>
                <a:lnTo>
                  <a:pt x="2043" y="373"/>
                </a:lnTo>
                <a:lnTo>
                  <a:pt x="2075" y="381"/>
                </a:lnTo>
                <a:lnTo>
                  <a:pt x="2107" y="390"/>
                </a:lnTo>
                <a:lnTo>
                  <a:pt x="2138" y="399"/>
                </a:lnTo>
                <a:lnTo>
                  <a:pt x="2170" y="409"/>
                </a:lnTo>
                <a:lnTo>
                  <a:pt x="2200" y="419"/>
                </a:lnTo>
                <a:lnTo>
                  <a:pt x="2230" y="431"/>
                </a:lnTo>
                <a:lnTo>
                  <a:pt x="2260" y="443"/>
                </a:lnTo>
                <a:lnTo>
                  <a:pt x="2291" y="456"/>
                </a:lnTo>
                <a:lnTo>
                  <a:pt x="2320" y="469"/>
                </a:lnTo>
                <a:lnTo>
                  <a:pt x="2349" y="484"/>
                </a:lnTo>
                <a:lnTo>
                  <a:pt x="2378" y="498"/>
                </a:lnTo>
                <a:lnTo>
                  <a:pt x="2406" y="513"/>
                </a:lnTo>
                <a:lnTo>
                  <a:pt x="2434" y="529"/>
                </a:lnTo>
                <a:lnTo>
                  <a:pt x="2461" y="546"/>
                </a:lnTo>
                <a:lnTo>
                  <a:pt x="2488" y="564"/>
                </a:lnTo>
                <a:lnTo>
                  <a:pt x="2515" y="581"/>
                </a:lnTo>
                <a:lnTo>
                  <a:pt x="2541" y="599"/>
                </a:lnTo>
                <a:lnTo>
                  <a:pt x="2567" y="619"/>
                </a:lnTo>
                <a:lnTo>
                  <a:pt x="2592" y="638"/>
                </a:lnTo>
                <a:lnTo>
                  <a:pt x="2617" y="659"/>
                </a:lnTo>
                <a:lnTo>
                  <a:pt x="2642" y="679"/>
                </a:lnTo>
                <a:lnTo>
                  <a:pt x="2665" y="701"/>
                </a:lnTo>
                <a:lnTo>
                  <a:pt x="2688" y="723"/>
                </a:lnTo>
                <a:lnTo>
                  <a:pt x="2711" y="744"/>
                </a:lnTo>
                <a:lnTo>
                  <a:pt x="2733" y="768"/>
                </a:lnTo>
                <a:lnTo>
                  <a:pt x="2755" y="791"/>
                </a:lnTo>
                <a:lnTo>
                  <a:pt x="2777" y="814"/>
                </a:lnTo>
                <a:lnTo>
                  <a:pt x="2797" y="839"/>
                </a:lnTo>
                <a:lnTo>
                  <a:pt x="2818" y="864"/>
                </a:lnTo>
                <a:lnTo>
                  <a:pt x="2837" y="889"/>
                </a:lnTo>
                <a:lnTo>
                  <a:pt x="2856" y="915"/>
                </a:lnTo>
                <a:lnTo>
                  <a:pt x="2875" y="941"/>
                </a:lnTo>
                <a:lnTo>
                  <a:pt x="2892" y="968"/>
                </a:lnTo>
                <a:lnTo>
                  <a:pt x="2909" y="995"/>
                </a:lnTo>
                <a:lnTo>
                  <a:pt x="2927" y="1022"/>
                </a:lnTo>
                <a:lnTo>
                  <a:pt x="2942" y="1050"/>
                </a:lnTo>
                <a:lnTo>
                  <a:pt x="2958" y="1078"/>
                </a:lnTo>
                <a:lnTo>
                  <a:pt x="2972" y="1107"/>
                </a:lnTo>
                <a:lnTo>
                  <a:pt x="2986" y="1136"/>
                </a:lnTo>
                <a:lnTo>
                  <a:pt x="3000" y="1165"/>
                </a:lnTo>
                <a:lnTo>
                  <a:pt x="3013" y="1196"/>
                </a:lnTo>
                <a:lnTo>
                  <a:pt x="3025" y="1226"/>
                </a:lnTo>
                <a:lnTo>
                  <a:pt x="3037" y="1256"/>
                </a:lnTo>
                <a:lnTo>
                  <a:pt x="3047" y="1286"/>
                </a:lnTo>
                <a:lnTo>
                  <a:pt x="3057" y="1318"/>
                </a:lnTo>
                <a:lnTo>
                  <a:pt x="3066" y="1349"/>
                </a:lnTo>
                <a:lnTo>
                  <a:pt x="3075" y="1381"/>
                </a:lnTo>
                <a:lnTo>
                  <a:pt x="3082" y="1413"/>
                </a:lnTo>
                <a:lnTo>
                  <a:pt x="3090" y="1445"/>
                </a:lnTo>
                <a:lnTo>
                  <a:pt x="3096" y="1479"/>
                </a:lnTo>
                <a:lnTo>
                  <a:pt x="3102" y="1511"/>
                </a:lnTo>
                <a:lnTo>
                  <a:pt x="3106" y="1544"/>
                </a:lnTo>
                <a:lnTo>
                  <a:pt x="3110" y="1578"/>
                </a:lnTo>
                <a:lnTo>
                  <a:pt x="3113" y="1611"/>
                </a:lnTo>
                <a:lnTo>
                  <a:pt x="3116" y="1645"/>
                </a:lnTo>
                <a:lnTo>
                  <a:pt x="3118" y="1679"/>
                </a:lnTo>
                <a:lnTo>
                  <a:pt x="3456" y="1679"/>
                </a:lnTo>
                <a:lnTo>
                  <a:pt x="3456" y="1778"/>
                </a:lnTo>
                <a:lnTo>
                  <a:pt x="3118" y="1778"/>
                </a:lnTo>
                <a:lnTo>
                  <a:pt x="3116" y="1811"/>
                </a:lnTo>
                <a:lnTo>
                  <a:pt x="3113" y="1846"/>
                </a:lnTo>
                <a:lnTo>
                  <a:pt x="3110" y="1879"/>
                </a:lnTo>
                <a:lnTo>
                  <a:pt x="3106" y="1913"/>
                </a:lnTo>
                <a:lnTo>
                  <a:pt x="3102" y="1945"/>
                </a:lnTo>
                <a:lnTo>
                  <a:pt x="3096" y="1979"/>
                </a:lnTo>
                <a:lnTo>
                  <a:pt x="3090" y="2011"/>
                </a:lnTo>
                <a:lnTo>
                  <a:pt x="3082" y="2043"/>
                </a:lnTo>
                <a:lnTo>
                  <a:pt x="3075" y="2076"/>
                </a:lnTo>
                <a:lnTo>
                  <a:pt x="3066" y="2107"/>
                </a:lnTo>
                <a:lnTo>
                  <a:pt x="3057" y="2138"/>
                </a:lnTo>
                <a:lnTo>
                  <a:pt x="3047" y="2170"/>
                </a:lnTo>
                <a:lnTo>
                  <a:pt x="3037" y="2201"/>
                </a:lnTo>
                <a:lnTo>
                  <a:pt x="3025" y="2231"/>
                </a:lnTo>
                <a:lnTo>
                  <a:pt x="3013" y="2262"/>
                </a:lnTo>
                <a:lnTo>
                  <a:pt x="3000" y="2291"/>
                </a:lnTo>
                <a:lnTo>
                  <a:pt x="2986" y="2320"/>
                </a:lnTo>
                <a:lnTo>
                  <a:pt x="2972" y="2349"/>
                </a:lnTo>
                <a:lnTo>
                  <a:pt x="2958" y="2378"/>
                </a:lnTo>
                <a:lnTo>
                  <a:pt x="2942" y="2406"/>
                </a:lnTo>
                <a:lnTo>
                  <a:pt x="2927" y="2434"/>
                </a:lnTo>
                <a:lnTo>
                  <a:pt x="2909" y="2461"/>
                </a:lnTo>
                <a:lnTo>
                  <a:pt x="2892" y="2488"/>
                </a:lnTo>
                <a:lnTo>
                  <a:pt x="2875" y="2515"/>
                </a:lnTo>
                <a:lnTo>
                  <a:pt x="2856" y="2541"/>
                </a:lnTo>
                <a:lnTo>
                  <a:pt x="2837" y="2567"/>
                </a:lnTo>
                <a:lnTo>
                  <a:pt x="2818" y="2593"/>
                </a:lnTo>
                <a:lnTo>
                  <a:pt x="2797" y="2617"/>
                </a:lnTo>
                <a:lnTo>
                  <a:pt x="2777" y="2642"/>
                </a:lnTo>
                <a:lnTo>
                  <a:pt x="2755" y="2665"/>
                </a:lnTo>
                <a:lnTo>
                  <a:pt x="2733" y="2689"/>
                </a:lnTo>
                <a:lnTo>
                  <a:pt x="2711" y="2712"/>
                </a:lnTo>
                <a:lnTo>
                  <a:pt x="2688" y="2735"/>
                </a:lnTo>
                <a:lnTo>
                  <a:pt x="2665" y="2756"/>
                </a:lnTo>
                <a:lnTo>
                  <a:pt x="2642" y="2777"/>
                </a:lnTo>
                <a:lnTo>
                  <a:pt x="2617" y="2798"/>
                </a:lnTo>
                <a:lnTo>
                  <a:pt x="2592" y="2818"/>
                </a:lnTo>
                <a:lnTo>
                  <a:pt x="2567" y="2837"/>
                </a:lnTo>
                <a:lnTo>
                  <a:pt x="2541" y="2857"/>
                </a:lnTo>
                <a:lnTo>
                  <a:pt x="2515" y="2875"/>
                </a:lnTo>
                <a:lnTo>
                  <a:pt x="2488" y="2893"/>
                </a:lnTo>
                <a:lnTo>
                  <a:pt x="2461" y="2911"/>
                </a:lnTo>
                <a:lnTo>
                  <a:pt x="2434" y="2927"/>
                </a:lnTo>
                <a:lnTo>
                  <a:pt x="2406" y="2943"/>
                </a:lnTo>
                <a:lnTo>
                  <a:pt x="2378" y="2958"/>
                </a:lnTo>
                <a:lnTo>
                  <a:pt x="2349" y="2973"/>
                </a:lnTo>
                <a:lnTo>
                  <a:pt x="2320" y="2987"/>
                </a:lnTo>
                <a:lnTo>
                  <a:pt x="2291" y="3000"/>
                </a:lnTo>
                <a:lnTo>
                  <a:pt x="2260" y="3013"/>
                </a:lnTo>
                <a:lnTo>
                  <a:pt x="2230" y="3025"/>
                </a:lnTo>
                <a:lnTo>
                  <a:pt x="2200" y="3037"/>
                </a:lnTo>
                <a:lnTo>
                  <a:pt x="2170" y="3048"/>
                </a:lnTo>
                <a:lnTo>
                  <a:pt x="2138" y="3057"/>
                </a:lnTo>
                <a:lnTo>
                  <a:pt x="2107" y="3067"/>
                </a:lnTo>
                <a:lnTo>
                  <a:pt x="2075" y="3076"/>
                </a:lnTo>
                <a:lnTo>
                  <a:pt x="2043" y="3083"/>
                </a:lnTo>
                <a:lnTo>
                  <a:pt x="2011" y="3090"/>
                </a:lnTo>
                <a:lnTo>
                  <a:pt x="1977" y="3096"/>
                </a:lnTo>
                <a:lnTo>
                  <a:pt x="1945" y="3102"/>
                </a:lnTo>
                <a:lnTo>
                  <a:pt x="1912" y="3107"/>
                </a:lnTo>
                <a:lnTo>
                  <a:pt x="1878" y="3111"/>
                </a:lnTo>
                <a:lnTo>
                  <a:pt x="1845" y="3115"/>
                </a:lnTo>
                <a:lnTo>
                  <a:pt x="1811" y="3117"/>
                </a:lnTo>
                <a:lnTo>
                  <a:pt x="1777" y="3118"/>
                </a:lnTo>
                <a:lnTo>
                  <a:pt x="1777" y="3456"/>
                </a:lnTo>
                <a:lnTo>
                  <a:pt x="1678" y="3456"/>
                </a:lnTo>
                <a:lnTo>
                  <a:pt x="1678" y="3118"/>
                </a:lnTo>
                <a:lnTo>
                  <a:pt x="1645" y="3117"/>
                </a:lnTo>
                <a:lnTo>
                  <a:pt x="1610" y="3115"/>
                </a:lnTo>
                <a:lnTo>
                  <a:pt x="1577" y="3111"/>
                </a:lnTo>
                <a:lnTo>
                  <a:pt x="1543" y="3107"/>
                </a:lnTo>
                <a:lnTo>
                  <a:pt x="1511" y="3102"/>
                </a:lnTo>
                <a:lnTo>
                  <a:pt x="1477" y="3096"/>
                </a:lnTo>
                <a:lnTo>
                  <a:pt x="1445" y="3090"/>
                </a:lnTo>
                <a:lnTo>
                  <a:pt x="1413" y="3083"/>
                </a:lnTo>
                <a:lnTo>
                  <a:pt x="1380" y="3076"/>
                </a:lnTo>
                <a:lnTo>
                  <a:pt x="1349" y="3067"/>
                </a:lnTo>
                <a:lnTo>
                  <a:pt x="1318" y="3057"/>
                </a:lnTo>
                <a:lnTo>
                  <a:pt x="1286" y="3048"/>
                </a:lnTo>
                <a:lnTo>
                  <a:pt x="1255" y="3037"/>
                </a:lnTo>
                <a:lnTo>
                  <a:pt x="1225" y="3025"/>
                </a:lnTo>
                <a:lnTo>
                  <a:pt x="1194" y="3013"/>
                </a:lnTo>
                <a:lnTo>
                  <a:pt x="1165" y="3000"/>
                </a:lnTo>
                <a:lnTo>
                  <a:pt x="1136" y="2987"/>
                </a:lnTo>
                <a:lnTo>
                  <a:pt x="1107" y="2973"/>
                </a:lnTo>
                <a:lnTo>
                  <a:pt x="1078" y="2958"/>
                </a:lnTo>
                <a:lnTo>
                  <a:pt x="1050" y="2943"/>
                </a:lnTo>
                <a:lnTo>
                  <a:pt x="1022" y="2927"/>
                </a:lnTo>
                <a:lnTo>
                  <a:pt x="995" y="2911"/>
                </a:lnTo>
                <a:lnTo>
                  <a:pt x="968" y="2893"/>
                </a:lnTo>
                <a:lnTo>
                  <a:pt x="941" y="2875"/>
                </a:lnTo>
                <a:lnTo>
                  <a:pt x="915" y="2857"/>
                </a:lnTo>
                <a:lnTo>
                  <a:pt x="889" y="2837"/>
                </a:lnTo>
                <a:lnTo>
                  <a:pt x="863" y="2818"/>
                </a:lnTo>
                <a:lnTo>
                  <a:pt x="839" y="2798"/>
                </a:lnTo>
                <a:lnTo>
                  <a:pt x="814" y="2777"/>
                </a:lnTo>
                <a:lnTo>
                  <a:pt x="791" y="2756"/>
                </a:lnTo>
                <a:lnTo>
                  <a:pt x="767" y="2735"/>
                </a:lnTo>
                <a:lnTo>
                  <a:pt x="744" y="2712"/>
                </a:lnTo>
                <a:lnTo>
                  <a:pt x="721" y="2689"/>
                </a:lnTo>
                <a:lnTo>
                  <a:pt x="700" y="2665"/>
                </a:lnTo>
                <a:lnTo>
                  <a:pt x="679" y="2642"/>
                </a:lnTo>
                <a:lnTo>
                  <a:pt x="658" y="2617"/>
                </a:lnTo>
                <a:lnTo>
                  <a:pt x="638" y="2593"/>
                </a:lnTo>
                <a:lnTo>
                  <a:pt x="619" y="2567"/>
                </a:lnTo>
                <a:lnTo>
                  <a:pt x="599" y="2541"/>
                </a:lnTo>
                <a:lnTo>
                  <a:pt x="581" y="2515"/>
                </a:lnTo>
                <a:lnTo>
                  <a:pt x="563" y="2488"/>
                </a:lnTo>
                <a:lnTo>
                  <a:pt x="545" y="2461"/>
                </a:lnTo>
                <a:lnTo>
                  <a:pt x="529" y="2434"/>
                </a:lnTo>
                <a:lnTo>
                  <a:pt x="513" y="2406"/>
                </a:lnTo>
                <a:lnTo>
                  <a:pt x="498" y="2378"/>
                </a:lnTo>
                <a:lnTo>
                  <a:pt x="483" y="2349"/>
                </a:lnTo>
                <a:lnTo>
                  <a:pt x="469" y="2320"/>
                </a:lnTo>
                <a:lnTo>
                  <a:pt x="456" y="2291"/>
                </a:lnTo>
                <a:lnTo>
                  <a:pt x="443" y="2262"/>
                </a:lnTo>
                <a:lnTo>
                  <a:pt x="431" y="2231"/>
                </a:lnTo>
                <a:lnTo>
                  <a:pt x="419" y="2201"/>
                </a:lnTo>
                <a:lnTo>
                  <a:pt x="408" y="2170"/>
                </a:lnTo>
                <a:lnTo>
                  <a:pt x="399" y="2138"/>
                </a:lnTo>
                <a:lnTo>
                  <a:pt x="389" y="2107"/>
                </a:lnTo>
                <a:lnTo>
                  <a:pt x="380" y="2076"/>
                </a:lnTo>
                <a:lnTo>
                  <a:pt x="373" y="2043"/>
                </a:lnTo>
                <a:lnTo>
                  <a:pt x="366" y="2011"/>
                </a:lnTo>
                <a:lnTo>
                  <a:pt x="360" y="1979"/>
                </a:lnTo>
                <a:lnTo>
                  <a:pt x="354" y="1945"/>
                </a:lnTo>
                <a:lnTo>
                  <a:pt x="349" y="1913"/>
                </a:lnTo>
                <a:lnTo>
                  <a:pt x="345" y="1879"/>
                </a:lnTo>
                <a:lnTo>
                  <a:pt x="341" y="1846"/>
                </a:lnTo>
                <a:lnTo>
                  <a:pt x="339" y="1811"/>
                </a:lnTo>
                <a:lnTo>
                  <a:pt x="338" y="1778"/>
                </a:lnTo>
                <a:lnTo>
                  <a:pt x="0" y="1778"/>
                </a:lnTo>
                <a:lnTo>
                  <a:pt x="0" y="1679"/>
                </a:lnTo>
                <a:lnTo>
                  <a:pt x="338" y="1679"/>
                </a:lnTo>
                <a:lnTo>
                  <a:pt x="339" y="1645"/>
                </a:lnTo>
                <a:lnTo>
                  <a:pt x="341" y="1611"/>
                </a:lnTo>
                <a:lnTo>
                  <a:pt x="345" y="1578"/>
                </a:lnTo>
                <a:lnTo>
                  <a:pt x="349" y="1544"/>
                </a:lnTo>
                <a:lnTo>
                  <a:pt x="354" y="1511"/>
                </a:lnTo>
                <a:lnTo>
                  <a:pt x="360" y="1479"/>
                </a:lnTo>
                <a:lnTo>
                  <a:pt x="366" y="1445"/>
                </a:lnTo>
                <a:lnTo>
                  <a:pt x="373" y="1413"/>
                </a:lnTo>
                <a:lnTo>
                  <a:pt x="380" y="1381"/>
                </a:lnTo>
                <a:lnTo>
                  <a:pt x="389" y="1349"/>
                </a:lnTo>
                <a:lnTo>
                  <a:pt x="399" y="1318"/>
                </a:lnTo>
                <a:lnTo>
                  <a:pt x="408" y="1286"/>
                </a:lnTo>
                <a:lnTo>
                  <a:pt x="419" y="1256"/>
                </a:lnTo>
                <a:lnTo>
                  <a:pt x="431" y="1226"/>
                </a:lnTo>
                <a:lnTo>
                  <a:pt x="443" y="1196"/>
                </a:lnTo>
                <a:lnTo>
                  <a:pt x="456" y="1165"/>
                </a:lnTo>
                <a:lnTo>
                  <a:pt x="469" y="1136"/>
                </a:lnTo>
                <a:lnTo>
                  <a:pt x="483" y="1107"/>
                </a:lnTo>
                <a:lnTo>
                  <a:pt x="498" y="1078"/>
                </a:lnTo>
                <a:lnTo>
                  <a:pt x="513" y="1050"/>
                </a:lnTo>
                <a:lnTo>
                  <a:pt x="529" y="1022"/>
                </a:lnTo>
                <a:lnTo>
                  <a:pt x="545" y="995"/>
                </a:lnTo>
                <a:lnTo>
                  <a:pt x="563" y="968"/>
                </a:lnTo>
                <a:lnTo>
                  <a:pt x="581" y="941"/>
                </a:lnTo>
                <a:lnTo>
                  <a:pt x="599" y="915"/>
                </a:lnTo>
                <a:lnTo>
                  <a:pt x="619" y="889"/>
                </a:lnTo>
                <a:lnTo>
                  <a:pt x="638" y="864"/>
                </a:lnTo>
                <a:lnTo>
                  <a:pt x="658" y="839"/>
                </a:lnTo>
                <a:lnTo>
                  <a:pt x="679" y="814"/>
                </a:lnTo>
                <a:lnTo>
                  <a:pt x="700" y="791"/>
                </a:lnTo>
                <a:lnTo>
                  <a:pt x="721" y="768"/>
                </a:lnTo>
                <a:lnTo>
                  <a:pt x="744" y="744"/>
                </a:lnTo>
                <a:lnTo>
                  <a:pt x="767" y="723"/>
                </a:lnTo>
                <a:lnTo>
                  <a:pt x="791" y="701"/>
                </a:lnTo>
                <a:lnTo>
                  <a:pt x="814" y="679"/>
                </a:lnTo>
                <a:lnTo>
                  <a:pt x="839" y="659"/>
                </a:lnTo>
                <a:lnTo>
                  <a:pt x="863" y="638"/>
                </a:lnTo>
                <a:lnTo>
                  <a:pt x="889" y="619"/>
                </a:lnTo>
                <a:lnTo>
                  <a:pt x="915" y="599"/>
                </a:lnTo>
                <a:lnTo>
                  <a:pt x="941" y="581"/>
                </a:lnTo>
                <a:lnTo>
                  <a:pt x="968" y="564"/>
                </a:lnTo>
                <a:lnTo>
                  <a:pt x="995" y="546"/>
                </a:lnTo>
                <a:lnTo>
                  <a:pt x="1022" y="529"/>
                </a:lnTo>
                <a:lnTo>
                  <a:pt x="1050" y="513"/>
                </a:lnTo>
                <a:lnTo>
                  <a:pt x="1078" y="498"/>
                </a:lnTo>
                <a:lnTo>
                  <a:pt x="1107" y="484"/>
                </a:lnTo>
                <a:lnTo>
                  <a:pt x="1136" y="469"/>
                </a:lnTo>
                <a:lnTo>
                  <a:pt x="1165" y="456"/>
                </a:lnTo>
                <a:lnTo>
                  <a:pt x="1194" y="443"/>
                </a:lnTo>
                <a:lnTo>
                  <a:pt x="1225" y="431"/>
                </a:lnTo>
                <a:lnTo>
                  <a:pt x="1255" y="419"/>
                </a:lnTo>
                <a:lnTo>
                  <a:pt x="1286" y="409"/>
                </a:lnTo>
                <a:lnTo>
                  <a:pt x="1318" y="399"/>
                </a:lnTo>
                <a:lnTo>
                  <a:pt x="1349" y="390"/>
                </a:lnTo>
                <a:lnTo>
                  <a:pt x="1380" y="381"/>
                </a:lnTo>
                <a:lnTo>
                  <a:pt x="1413" y="373"/>
                </a:lnTo>
                <a:lnTo>
                  <a:pt x="1445" y="366"/>
                </a:lnTo>
                <a:lnTo>
                  <a:pt x="1477" y="360"/>
                </a:lnTo>
                <a:lnTo>
                  <a:pt x="1511" y="354"/>
                </a:lnTo>
                <a:lnTo>
                  <a:pt x="1543" y="349"/>
                </a:lnTo>
                <a:lnTo>
                  <a:pt x="1577" y="346"/>
                </a:lnTo>
                <a:lnTo>
                  <a:pt x="1610" y="342"/>
                </a:lnTo>
                <a:lnTo>
                  <a:pt x="1645" y="340"/>
                </a:lnTo>
                <a:lnTo>
                  <a:pt x="1678" y="338"/>
                </a:lnTo>
                <a:lnTo>
                  <a:pt x="1678" y="0"/>
                </a:lnTo>
                <a:lnTo>
                  <a:pt x="1777" y="0"/>
                </a:lnTo>
                <a:lnTo>
                  <a:pt x="1777" y="338"/>
                </a:lnTo>
                <a:close/>
                <a:moveTo>
                  <a:pt x="2572" y="883"/>
                </a:moveTo>
                <a:lnTo>
                  <a:pt x="2552" y="864"/>
                </a:lnTo>
                <a:lnTo>
                  <a:pt x="2530" y="845"/>
                </a:lnTo>
                <a:lnTo>
                  <a:pt x="2509" y="825"/>
                </a:lnTo>
                <a:lnTo>
                  <a:pt x="2487" y="807"/>
                </a:lnTo>
                <a:lnTo>
                  <a:pt x="2464" y="788"/>
                </a:lnTo>
                <a:lnTo>
                  <a:pt x="2442" y="771"/>
                </a:lnTo>
                <a:lnTo>
                  <a:pt x="2419" y="755"/>
                </a:lnTo>
                <a:lnTo>
                  <a:pt x="2395" y="738"/>
                </a:lnTo>
                <a:lnTo>
                  <a:pt x="2372" y="723"/>
                </a:lnTo>
                <a:lnTo>
                  <a:pt x="2347" y="707"/>
                </a:lnTo>
                <a:lnTo>
                  <a:pt x="2322" y="692"/>
                </a:lnTo>
                <a:lnTo>
                  <a:pt x="2297" y="678"/>
                </a:lnTo>
                <a:lnTo>
                  <a:pt x="2271" y="665"/>
                </a:lnTo>
                <a:lnTo>
                  <a:pt x="2245" y="652"/>
                </a:lnTo>
                <a:lnTo>
                  <a:pt x="2219" y="639"/>
                </a:lnTo>
                <a:lnTo>
                  <a:pt x="2192" y="627"/>
                </a:lnTo>
                <a:lnTo>
                  <a:pt x="2165" y="617"/>
                </a:lnTo>
                <a:lnTo>
                  <a:pt x="2138" y="607"/>
                </a:lnTo>
                <a:lnTo>
                  <a:pt x="2110" y="597"/>
                </a:lnTo>
                <a:lnTo>
                  <a:pt x="2083" y="588"/>
                </a:lnTo>
                <a:lnTo>
                  <a:pt x="2054" y="580"/>
                </a:lnTo>
                <a:lnTo>
                  <a:pt x="2026" y="571"/>
                </a:lnTo>
                <a:lnTo>
                  <a:pt x="1997" y="565"/>
                </a:lnTo>
                <a:lnTo>
                  <a:pt x="1969" y="558"/>
                </a:lnTo>
                <a:lnTo>
                  <a:pt x="1940" y="553"/>
                </a:lnTo>
                <a:lnTo>
                  <a:pt x="1909" y="548"/>
                </a:lnTo>
                <a:lnTo>
                  <a:pt x="1880" y="544"/>
                </a:lnTo>
                <a:lnTo>
                  <a:pt x="1850" y="540"/>
                </a:lnTo>
                <a:lnTo>
                  <a:pt x="1820" y="538"/>
                </a:lnTo>
                <a:lnTo>
                  <a:pt x="1789" y="536"/>
                </a:lnTo>
                <a:lnTo>
                  <a:pt x="1758" y="535"/>
                </a:lnTo>
                <a:lnTo>
                  <a:pt x="1728" y="535"/>
                </a:lnTo>
                <a:lnTo>
                  <a:pt x="1697" y="535"/>
                </a:lnTo>
                <a:lnTo>
                  <a:pt x="1666" y="536"/>
                </a:lnTo>
                <a:lnTo>
                  <a:pt x="1636" y="538"/>
                </a:lnTo>
                <a:lnTo>
                  <a:pt x="1606" y="540"/>
                </a:lnTo>
                <a:lnTo>
                  <a:pt x="1576" y="544"/>
                </a:lnTo>
                <a:lnTo>
                  <a:pt x="1545" y="548"/>
                </a:lnTo>
                <a:lnTo>
                  <a:pt x="1516" y="553"/>
                </a:lnTo>
                <a:lnTo>
                  <a:pt x="1487" y="558"/>
                </a:lnTo>
                <a:lnTo>
                  <a:pt x="1458" y="565"/>
                </a:lnTo>
                <a:lnTo>
                  <a:pt x="1430" y="571"/>
                </a:lnTo>
                <a:lnTo>
                  <a:pt x="1401" y="580"/>
                </a:lnTo>
                <a:lnTo>
                  <a:pt x="1373" y="588"/>
                </a:lnTo>
                <a:lnTo>
                  <a:pt x="1345" y="597"/>
                </a:lnTo>
                <a:lnTo>
                  <a:pt x="1318" y="607"/>
                </a:lnTo>
                <a:lnTo>
                  <a:pt x="1289" y="617"/>
                </a:lnTo>
                <a:lnTo>
                  <a:pt x="1262" y="627"/>
                </a:lnTo>
                <a:lnTo>
                  <a:pt x="1237" y="639"/>
                </a:lnTo>
                <a:lnTo>
                  <a:pt x="1210" y="652"/>
                </a:lnTo>
                <a:lnTo>
                  <a:pt x="1184" y="665"/>
                </a:lnTo>
                <a:lnTo>
                  <a:pt x="1159" y="678"/>
                </a:lnTo>
                <a:lnTo>
                  <a:pt x="1134" y="692"/>
                </a:lnTo>
                <a:lnTo>
                  <a:pt x="1109" y="707"/>
                </a:lnTo>
                <a:lnTo>
                  <a:pt x="1084" y="723"/>
                </a:lnTo>
                <a:lnTo>
                  <a:pt x="1061" y="738"/>
                </a:lnTo>
                <a:lnTo>
                  <a:pt x="1037" y="755"/>
                </a:lnTo>
                <a:lnTo>
                  <a:pt x="1013" y="771"/>
                </a:lnTo>
                <a:lnTo>
                  <a:pt x="990" y="788"/>
                </a:lnTo>
                <a:lnTo>
                  <a:pt x="969" y="807"/>
                </a:lnTo>
                <a:lnTo>
                  <a:pt x="946" y="825"/>
                </a:lnTo>
                <a:lnTo>
                  <a:pt x="924" y="845"/>
                </a:lnTo>
                <a:lnTo>
                  <a:pt x="904" y="864"/>
                </a:lnTo>
                <a:lnTo>
                  <a:pt x="883" y="883"/>
                </a:lnTo>
                <a:lnTo>
                  <a:pt x="864" y="904"/>
                </a:lnTo>
                <a:lnTo>
                  <a:pt x="843" y="926"/>
                </a:lnTo>
                <a:lnTo>
                  <a:pt x="825" y="947"/>
                </a:lnTo>
                <a:lnTo>
                  <a:pt x="807" y="969"/>
                </a:lnTo>
                <a:lnTo>
                  <a:pt x="788" y="991"/>
                </a:lnTo>
                <a:lnTo>
                  <a:pt x="771" y="1014"/>
                </a:lnTo>
                <a:lnTo>
                  <a:pt x="754" y="1037"/>
                </a:lnTo>
                <a:lnTo>
                  <a:pt x="738" y="1061"/>
                </a:lnTo>
                <a:lnTo>
                  <a:pt x="721" y="1084"/>
                </a:lnTo>
                <a:lnTo>
                  <a:pt x="706" y="1109"/>
                </a:lnTo>
                <a:lnTo>
                  <a:pt x="692" y="1134"/>
                </a:lnTo>
                <a:lnTo>
                  <a:pt x="678" y="1159"/>
                </a:lnTo>
                <a:lnTo>
                  <a:pt x="664" y="1185"/>
                </a:lnTo>
                <a:lnTo>
                  <a:pt x="651" y="1211"/>
                </a:lnTo>
                <a:lnTo>
                  <a:pt x="639" y="1237"/>
                </a:lnTo>
                <a:lnTo>
                  <a:pt x="627" y="1264"/>
                </a:lnTo>
                <a:lnTo>
                  <a:pt x="617" y="1291"/>
                </a:lnTo>
                <a:lnTo>
                  <a:pt x="606" y="1318"/>
                </a:lnTo>
                <a:lnTo>
                  <a:pt x="596" y="1346"/>
                </a:lnTo>
                <a:lnTo>
                  <a:pt x="588" y="1373"/>
                </a:lnTo>
                <a:lnTo>
                  <a:pt x="579" y="1402"/>
                </a:lnTo>
                <a:lnTo>
                  <a:pt x="571" y="1430"/>
                </a:lnTo>
                <a:lnTo>
                  <a:pt x="565" y="1458"/>
                </a:lnTo>
                <a:lnTo>
                  <a:pt x="558" y="1487"/>
                </a:lnTo>
                <a:lnTo>
                  <a:pt x="553" y="1516"/>
                </a:lnTo>
                <a:lnTo>
                  <a:pt x="548" y="1547"/>
                </a:lnTo>
                <a:lnTo>
                  <a:pt x="543" y="1576"/>
                </a:lnTo>
                <a:lnTo>
                  <a:pt x="540" y="1606"/>
                </a:lnTo>
                <a:lnTo>
                  <a:pt x="537" y="1636"/>
                </a:lnTo>
                <a:lnTo>
                  <a:pt x="536" y="1666"/>
                </a:lnTo>
                <a:lnTo>
                  <a:pt x="535" y="1698"/>
                </a:lnTo>
                <a:lnTo>
                  <a:pt x="534" y="1728"/>
                </a:lnTo>
                <a:lnTo>
                  <a:pt x="535" y="1759"/>
                </a:lnTo>
                <a:lnTo>
                  <a:pt x="536" y="1790"/>
                </a:lnTo>
                <a:lnTo>
                  <a:pt x="537" y="1820"/>
                </a:lnTo>
                <a:lnTo>
                  <a:pt x="540" y="1850"/>
                </a:lnTo>
                <a:lnTo>
                  <a:pt x="543" y="1880"/>
                </a:lnTo>
                <a:lnTo>
                  <a:pt x="548" y="1911"/>
                </a:lnTo>
                <a:lnTo>
                  <a:pt x="553" y="1940"/>
                </a:lnTo>
                <a:lnTo>
                  <a:pt x="558" y="1969"/>
                </a:lnTo>
                <a:lnTo>
                  <a:pt x="565" y="1998"/>
                </a:lnTo>
                <a:lnTo>
                  <a:pt x="571" y="2026"/>
                </a:lnTo>
                <a:lnTo>
                  <a:pt x="579" y="2055"/>
                </a:lnTo>
                <a:lnTo>
                  <a:pt x="588" y="2083"/>
                </a:lnTo>
                <a:lnTo>
                  <a:pt x="596" y="2111"/>
                </a:lnTo>
                <a:lnTo>
                  <a:pt x="606" y="2138"/>
                </a:lnTo>
                <a:lnTo>
                  <a:pt x="617" y="2166"/>
                </a:lnTo>
                <a:lnTo>
                  <a:pt x="627" y="2193"/>
                </a:lnTo>
                <a:lnTo>
                  <a:pt x="639" y="2219"/>
                </a:lnTo>
                <a:lnTo>
                  <a:pt x="651" y="2245"/>
                </a:lnTo>
                <a:lnTo>
                  <a:pt x="664" y="2271"/>
                </a:lnTo>
                <a:lnTo>
                  <a:pt x="678" y="2297"/>
                </a:lnTo>
                <a:lnTo>
                  <a:pt x="692" y="2322"/>
                </a:lnTo>
                <a:lnTo>
                  <a:pt x="706" y="2347"/>
                </a:lnTo>
                <a:lnTo>
                  <a:pt x="721" y="2372"/>
                </a:lnTo>
                <a:lnTo>
                  <a:pt x="738" y="2395"/>
                </a:lnTo>
                <a:lnTo>
                  <a:pt x="754" y="2419"/>
                </a:lnTo>
                <a:lnTo>
                  <a:pt x="771" y="2443"/>
                </a:lnTo>
                <a:lnTo>
                  <a:pt x="788" y="2466"/>
                </a:lnTo>
                <a:lnTo>
                  <a:pt x="807" y="2487"/>
                </a:lnTo>
                <a:lnTo>
                  <a:pt x="825" y="2510"/>
                </a:lnTo>
                <a:lnTo>
                  <a:pt x="843" y="2532"/>
                </a:lnTo>
                <a:lnTo>
                  <a:pt x="864" y="2552"/>
                </a:lnTo>
                <a:lnTo>
                  <a:pt x="883" y="2573"/>
                </a:lnTo>
                <a:lnTo>
                  <a:pt x="904" y="2592"/>
                </a:lnTo>
                <a:lnTo>
                  <a:pt x="924" y="2613"/>
                </a:lnTo>
                <a:lnTo>
                  <a:pt x="946" y="2631"/>
                </a:lnTo>
                <a:lnTo>
                  <a:pt x="969" y="2649"/>
                </a:lnTo>
                <a:lnTo>
                  <a:pt x="990" y="2668"/>
                </a:lnTo>
                <a:lnTo>
                  <a:pt x="1013" y="2685"/>
                </a:lnTo>
                <a:lnTo>
                  <a:pt x="1037" y="2702"/>
                </a:lnTo>
                <a:lnTo>
                  <a:pt x="1061" y="2718"/>
                </a:lnTo>
                <a:lnTo>
                  <a:pt x="1084" y="2735"/>
                </a:lnTo>
                <a:lnTo>
                  <a:pt x="1109" y="2750"/>
                </a:lnTo>
                <a:lnTo>
                  <a:pt x="1134" y="2764"/>
                </a:lnTo>
                <a:lnTo>
                  <a:pt x="1159" y="2778"/>
                </a:lnTo>
                <a:lnTo>
                  <a:pt x="1184" y="2792"/>
                </a:lnTo>
                <a:lnTo>
                  <a:pt x="1210" y="2805"/>
                </a:lnTo>
                <a:lnTo>
                  <a:pt x="1237" y="2817"/>
                </a:lnTo>
                <a:lnTo>
                  <a:pt x="1262" y="2829"/>
                </a:lnTo>
                <a:lnTo>
                  <a:pt x="1289" y="2839"/>
                </a:lnTo>
                <a:lnTo>
                  <a:pt x="1318" y="2850"/>
                </a:lnTo>
                <a:lnTo>
                  <a:pt x="1345" y="2860"/>
                </a:lnTo>
                <a:lnTo>
                  <a:pt x="1373" y="2868"/>
                </a:lnTo>
                <a:lnTo>
                  <a:pt x="1401" y="2877"/>
                </a:lnTo>
                <a:lnTo>
                  <a:pt x="1430" y="2885"/>
                </a:lnTo>
                <a:lnTo>
                  <a:pt x="1458" y="2891"/>
                </a:lnTo>
                <a:lnTo>
                  <a:pt x="1487" y="2898"/>
                </a:lnTo>
                <a:lnTo>
                  <a:pt x="1516" y="2903"/>
                </a:lnTo>
                <a:lnTo>
                  <a:pt x="1545" y="2908"/>
                </a:lnTo>
                <a:lnTo>
                  <a:pt x="1576" y="2913"/>
                </a:lnTo>
                <a:lnTo>
                  <a:pt x="1606" y="2916"/>
                </a:lnTo>
                <a:lnTo>
                  <a:pt x="1636" y="2919"/>
                </a:lnTo>
                <a:lnTo>
                  <a:pt x="1666" y="2920"/>
                </a:lnTo>
                <a:lnTo>
                  <a:pt x="1697" y="2921"/>
                </a:lnTo>
                <a:lnTo>
                  <a:pt x="1728" y="2922"/>
                </a:lnTo>
                <a:lnTo>
                  <a:pt x="1758" y="2921"/>
                </a:lnTo>
                <a:lnTo>
                  <a:pt x="1789" y="2920"/>
                </a:lnTo>
                <a:lnTo>
                  <a:pt x="1820" y="2919"/>
                </a:lnTo>
                <a:lnTo>
                  <a:pt x="1850" y="2916"/>
                </a:lnTo>
                <a:lnTo>
                  <a:pt x="1880" y="2913"/>
                </a:lnTo>
                <a:lnTo>
                  <a:pt x="1909" y="2908"/>
                </a:lnTo>
                <a:lnTo>
                  <a:pt x="1940" y="2903"/>
                </a:lnTo>
                <a:lnTo>
                  <a:pt x="1969" y="2898"/>
                </a:lnTo>
                <a:lnTo>
                  <a:pt x="1997" y="2891"/>
                </a:lnTo>
                <a:lnTo>
                  <a:pt x="2026" y="2885"/>
                </a:lnTo>
                <a:lnTo>
                  <a:pt x="2054" y="2877"/>
                </a:lnTo>
                <a:lnTo>
                  <a:pt x="2083" y="2868"/>
                </a:lnTo>
                <a:lnTo>
                  <a:pt x="2110" y="2860"/>
                </a:lnTo>
                <a:lnTo>
                  <a:pt x="2138" y="2850"/>
                </a:lnTo>
                <a:lnTo>
                  <a:pt x="2165" y="2839"/>
                </a:lnTo>
                <a:lnTo>
                  <a:pt x="2192" y="2829"/>
                </a:lnTo>
                <a:lnTo>
                  <a:pt x="2219" y="2817"/>
                </a:lnTo>
                <a:lnTo>
                  <a:pt x="2245" y="2805"/>
                </a:lnTo>
                <a:lnTo>
                  <a:pt x="2271" y="2792"/>
                </a:lnTo>
                <a:lnTo>
                  <a:pt x="2297" y="2778"/>
                </a:lnTo>
                <a:lnTo>
                  <a:pt x="2322" y="2764"/>
                </a:lnTo>
                <a:lnTo>
                  <a:pt x="2347" y="2750"/>
                </a:lnTo>
                <a:lnTo>
                  <a:pt x="2372" y="2735"/>
                </a:lnTo>
                <a:lnTo>
                  <a:pt x="2395" y="2718"/>
                </a:lnTo>
                <a:lnTo>
                  <a:pt x="2419" y="2702"/>
                </a:lnTo>
                <a:lnTo>
                  <a:pt x="2442" y="2685"/>
                </a:lnTo>
                <a:lnTo>
                  <a:pt x="2464" y="2668"/>
                </a:lnTo>
                <a:lnTo>
                  <a:pt x="2487" y="2649"/>
                </a:lnTo>
                <a:lnTo>
                  <a:pt x="2509" y="2631"/>
                </a:lnTo>
                <a:lnTo>
                  <a:pt x="2530" y="2613"/>
                </a:lnTo>
                <a:lnTo>
                  <a:pt x="2552" y="2592"/>
                </a:lnTo>
                <a:lnTo>
                  <a:pt x="2572" y="2573"/>
                </a:lnTo>
                <a:lnTo>
                  <a:pt x="2592" y="2552"/>
                </a:lnTo>
                <a:lnTo>
                  <a:pt x="2611" y="2532"/>
                </a:lnTo>
                <a:lnTo>
                  <a:pt x="2631" y="2510"/>
                </a:lnTo>
                <a:lnTo>
                  <a:pt x="2649" y="2487"/>
                </a:lnTo>
                <a:lnTo>
                  <a:pt x="2667" y="2466"/>
                </a:lnTo>
                <a:lnTo>
                  <a:pt x="2685" y="2443"/>
                </a:lnTo>
                <a:lnTo>
                  <a:pt x="2701" y="2419"/>
                </a:lnTo>
                <a:lnTo>
                  <a:pt x="2718" y="2395"/>
                </a:lnTo>
                <a:lnTo>
                  <a:pt x="2733" y="2372"/>
                </a:lnTo>
                <a:lnTo>
                  <a:pt x="2748" y="2347"/>
                </a:lnTo>
                <a:lnTo>
                  <a:pt x="2764" y="2322"/>
                </a:lnTo>
                <a:lnTo>
                  <a:pt x="2778" y="2297"/>
                </a:lnTo>
                <a:lnTo>
                  <a:pt x="2791" y="2271"/>
                </a:lnTo>
                <a:lnTo>
                  <a:pt x="2804" y="2245"/>
                </a:lnTo>
                <a:lnTo>
                  <a:pt x="2816" y="2219"/>
                </a:lnTo>
                <a:lnTo>
                  <a:pt x="2827" y="2193"/>
                </a:lnTo>
                <a:lnTo>
                  <a:pt x="2839" y="2166"/>
                </a:lnTo>
                <a:lnTo>
                  <a:pt x="2849" y="2138"/>
                </a:lnTo>
                <a:lnTo>
                  <a:pt x="2859" y="2111"/>
                </a:lnTo>
                <a:lnTo>
                  <a:pt x="2868" y="2083"/>
                </a:lnTo>
                <a:lnTo>
                  <a:pt x="2876" y="2055"/>
                </a:lnTo>
                <a:lnTo>
                  <a:pt x="2885" y="2026"/>
                </a:lnTo>
                <a:lnTo>
                  <a:pt x="2891" y="1998"/>
                </a:lnTo>
                <a:lnTo>
                  <a:pt x="2897" y="1969"/>
                </a:lnTo>
                <a:lnTo>
                  <a:pt x="2903" y="1940"/>
                </a:lnTo>
                <a:lnTo>
                  <a:pt x="2908" y="1911"/>
                </a:lnTo>
                <a:lnTo>
                  <a:pt x="2912" y="1880"/>
                </a:lnTo>
                <a:lnTo>
                  <a:pt x="2916" y="1850"/>
                </a:lnTo>
                <a:lnTo>
                  <a:pt x="2918" y="1820"/>
                </a:lnTo>
                <a:lnTo>
                  <a:pt x="2920" y="1790"/>
                </a:lnTo>
                <a:lnTo>
                  <a:pt x="2921" y="1759"/>
                </a:lnTo>
                <a:lnTo>
                  <a:pt x="2921" y="1728"/>
                </a:lnTo>
                <a:lnTo>
                  <a:pt x="2921" y="1698"/>
                </a:lnTo>
                <a:lnTo>
                  <a:pt x="2920" y="1666"/>
                </a:lnTo>
                <a:lnTo>
                  <a:pt x="2918" y="1636"/>
                </a:lnTo>
                <a:lnTo>
                  <a:pt x="2916" y="1606"/>
                </a:lnTo>
                <a:lnTo>
                  <a:pt x="2912" y="1576"/>
                </a:lnTo>
                <a:lnTo>
                  <a:pt x="2908" y="1547"/>
                </a:lnTo>
                <a:lnTo>
                  <a:pt x="2903" y="1516"/>
                </a:lnTo>
                <a:lnTo>
                  <a:pt x="2897" y="1487"/>
                </a:lnTo>
                <a:lnTo>
                  <a:pt x="2891" y="1458"/>
                </a:lnTo>
                <a:lnTo>
                  <a:pt x="2885" y="1430"/>
                </a:lnTo>
                <a:lnTo>
                  <a:pt x="2876" y="1402"/>
                </a:lnTo>
                <a:lnTo>
                  <a:pt x="2868" y="1373"/>
                </a:lnTo>
                <a:lnTo>
                  <a:pt x="2859" y="1346"/>
                </a:lnTo>
                <a:lnTo>
                  <a:pt x="2849" y="1318"/>
                </a:lnTo>
                <a:lnTo>
                  <a:pt x="2839" y="1291"/>
                </a:lnTo>
                <a:lnTo>
                  <a:pt x="2827" y="1264"/>
                </a:lnTo>
                <a:lnTo>
                  <a:pt x="2816" y="1237"/>
                </a:lnTo>
                <a:lnTo>
                  <a:pt x="2804" y="1211"/>
                </a:lnTo>
                <a:lnTo>
                  <a:pt x="2791" y="1185"/>
                </a:lnTo>
                <a:lnTo>
                  <a:pt x="2778" y="1159"/>
                </a:lnTo>
                <a:lnTo>
                  <a:pt x="2764" y="1134"/>
                </a:lnTo>
                <a:lnTo>
                  <a:pt x="2748" y="1109"/>
                </a:lnTo>
                <a:lnTo>
                  <a:pt x="2733" y="1084"/>
                </a:lnTo>
                <a:lnTo>
                  <a:pt x="2718" y="1061"/>
                </a:lnTo>
                <a:lnTo>
                  <a:pt x="2701" y="1037"/>
                </a:lnTo>
                <a:lnTo>
                  <a:pt x="2685" y="1014"/>
                </a:lnTo>
                <a:lnTo>
                  <a:pt x="2667" y="991"/>
                </a:lnTo>
                <a:lnTo>
                  <a:pt x="2649" y="969"/>
                </a:lnTo>
                <a:lnTo>
                  <a:pt x="2631" y="947"/>
                </a:lnTo>
                <a:lnTo>
                  <a:pt x="2611" y="926"/>
                </a:lnTo>
                <a:lnTo>
                  <a:pt x="2592" y="904"/>
                </a:lnTo>
                <a:lnTo>
                  <a:pt x="2572" y="88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9"/>
          <p:cNvSpPr>
            <a:spLocks noEditPoints="1"/>
          </p:cNvSpPr>
          <p:nvPr/>
        </p:nvSpPr>
        <p:spPr bwMode="auto">
          <a:xfrm>
            <a:off x="3607913" y="2607358"/>
            <a:ext cx="866775" cy="866775"/>
          </a:xfrm>
          <a:custGeom>
            <a:avLst/>
            <a:gdLst>
              <a:gd name="T0" fmla="*/ 952 w 1727"/>
              <a:gd name="T1" fmla="*/ 4 h 1727"/>
              <a:gd name="T2" fmla="*/ 1080 w 1727"/>
              <a:gd name="T3" fmla="*/ 27 h 1727"/>
              <a:gd name="T4" fmla="*/ 1275 w 1727"/>
              <a:gd name="T5" fmla="*/ 104 h 1727"/>
              <a:gd name="T6" fmla="*/ 1444 w 1727"/>
              <a:gd name="T7" fmla="*/ 224 h 1727"/>
              <a:gd name="T8" fmla="*/ 1580 w 1727"/>
              <a:gd name="T9" fmla="*/ 380 h 1727"/>
              <a:gd name="T10" fmla="*/ 1675 w 1727"/>
              <a:gd name="T11" fmla="*/ 566 h 1727"/>
              <a:gd name="T12" fmla="*/ 1717 w 1727"/>
              <a:gd name="T13" fmla="*/ 731 h 1727"/>
              <a:gd name="T14" fmla="*/ 1727 w 1727"/>
              <a:gd name="T15" fmla="*/ 841 h 1727"/>
              <a:gd name="T16" fmla="*/ 1722 w 1727"/>
              <a:gd name="T17" fmla="*/ 952 h 1727"/>
              <a:gd name="T18" fmla="*/ 1700 w 1727"/>
              <a:gd name="T19" fmla="*/ 1079 h 1727"/>
              <a:gd name="T20" fmla="*/ 1623 w 1727"/>
              <a:gd name="T21" fmla="*/ 1274 h 1727"/>
              <a:gd name="T22" fmla="*/ 1503 w 1727"/>
              <a:gd name="T23" fmla="*/ 1444 h 1727"/>
              <a:gd name="T24" fmla="*/ 1347 w 1727"/>
              <a:gd name="T25" fmla="*/ 1579 h 1727"/>
              <a:gd name="T26" fmla="*/ 1161 w 1727"/>
              <a:gd name="T27" fmla="*/ 1674 h 1727"/>
              <a:gd name="T28" fmla="*/ 996 w 1727"/>
              <a:gd name="T29" fmla="*/ 1716 h 1727"/>
              <a:gd name="T30" fmla="*/ 886 w 1727"/>
              <a:gd name="T31" fmla="*/ 1726 h 1727"/>
              <a:gd name="T32" fmla="*/ 775 w 1727"/>
              <a:gd name="T33" fmla="*/ 1722 h 1727"/>
              <a:gd name="T34" fmla="*/ 648 w 1727"/>
              <a:gd name="T35" fmla="*/ 1699 h 1727"/>
              <a:gd name="T36" fmla="*/ 452 w 1727"/>
              <a:gd name="T37" fmla="*/ 1622 h 1727"/>
              <a:gd name="T38" fmla="*/ 283 w 1727"/>
              <a:gd name="T39" fmla="*/ 1502 h 1727"/>
              <a:gd name="T40" fmla="*/ 148 w 1727"/>
              <a:gd name="T41" fmla="*/ 1346 h 1727"/>
              <a:gd name="T42" fmla="*/ 53 w 1727"/>
              <a:gd name="T43" fmla="*/ 1160 h 1727"/>
              <a:gd name="T44" fmla="*/ 11 w 1727"/>
              <a:gd name="T45" fmla="*/ 995 h 1727"/>
              <a:gd name="T46" fmla="*/ 1 w 1727"/>
              <a:gd name="T47" fmla="*/ 886 h 1727"/>
              <a:gd name="T48" fmla="*/ 5 w 1727"/>
              <a:gd name="T49" fmla="*/ 774 h 1727"/>
              <a:gd name="T50" fmla="*/ 28 w 1727"/>
              <a:gd name="T51" fmla="*/ 647 h 1727"/>
              <a:gd name="T52" fmla="*/ 105 w 1727"/>
              <a:gd name="T53" fmla="*/ 452 h 1727"/>
              <a:gd name="T54" fmla="*/ 225 w 1727"/>
              <a:gd name="T55" fmla="*/ 283 h 1727"/>
              <a:gd name="T56" fmla="*/ 381 w 1727"/>
              <a:gd name="T57" fmla="*/ 147 h 1727"/>
              <a:gd name="T58" fmla="*/ 567 w 1727"/>
              <a:gd name="T59" fmla="*/ 52 h 1727"/>
              <a:gd name="T60" fmla="*/ 732 w 1727"/>
              <a:gd name="T61" fmla="*/ 10 h 1727"/>
              <a:gd name="T62" fmla="*/ 841 w 1727"/>
              <a:gd name="T63" fmla="*/ 0 h 1727"/>
              <a:gd name="T64" fmla="*/ 1262 w 1727"/>
              <a:gd name="T65" fmla="*/ 329 h 1727"/>
              <a:gd name="T66" fmla="*/ 1123 w 1727"/>
              <a:gd name="T67" fmla="*/ 250 h 1727"/>
              <a:gd name="T68" fmla="*/ 965 w 1727"/>
              <a:gd name="T69" fmla="*/ 204 h 1727"/>
              <a:gd name="T70" fmla="*/ 796 w 1727"/>
              <a:gd name="T71" fmla="*/ 200 h 1727"/>
              <a:gd name="T72" fmla="*/ 635 w 1727"/>
              <a:gd name="T73" fmla="*/ 238 h 1727"/>
              <a:gd name="T74" fmla="*/ 491 w 1727"/>
              <a:gd name="T75" fmla="*/ 310 h 1727"/>
              <a:gd name="T76" fmla="*/ 370 w 1727"/>
              <a:gd name="T77" fmla="*/ 415 h 1727"/>
              <a:gd name="T78" fmla="*/ 278 w 1727"/>
              <a:gd name="T79" fmla="*/ 545 h 1727"/>
              <a:gd name="T80" fmla="*/ 218 w 1727"/>
              <a:gd name="T81" fmla="*/ 697 h 1727"/>
              <a:gd name="T82" fmla="*/ 198 w 1727"/>
              <a:gd name="T83" fmla="*/ 863 h 1727"/>
              <a:gd name="T84" fmla="*/ 218 w 1727"/>
              <a:gd name="T85" fmla="*/ 1029 h 1727"/>
              <a:gd name="T86" fmla="*/ 278 w 1727"/>
              <a:gd name="T87" fmla="*/ 1181 h 1727"/>
              <a:gd name="T88" fmla="*/ 370 w 1727"/>
              <a:gd name="T89" fmla="*/ 1311 h 1727"/>
              <a:gd name="T90" fmla="*/ 491 w 1727"/>
              <a:gd name="T91" fmla="*/ 1416 h 1727"/>
              <a:gd name="T92" fmla="*/ 635 w 1727"/>
              <a:gd name="T93" fmla="*/ 1489 h 1727"/>
              <a:gd name="T94" fmla="*/ 796 w 1727"/>
              <a:gd name="T95" fmla="*/ 1526 h 1727"/>
              <a:gd name="T96" fmla="*/ 965 w 1727"/>
              <a:gd name="T97" fmla="*/ 1522 h 1727"/>
              <a:gd name="T98" fmla="*/ 1123 w 1727"/>
              <a:gd name="T99" fmla="*/ 1478 h 1727"/>
              <a:gd name="T100" fmla="*/ 1262 w 1727"/>
              <a:gd name="T101" fmla="*/ 1398 h 1727"/>
              <a:gd name="T102" fmla="*/ 1378 w 1727"/>
              <a:gd name="T103" fmla="*/ 1287 h 1727"/>
              <a:gd name="T104" fmla="*/ 1464 w 1727"/>
              <a:gd name="T105" fmla="*/ 1152 h 1727"/>
              <a:gd name="T106" fmla="*/ 1516 w 1727"/>
              <a:gd name="T107" fmla="*/ 998 h 1727"/>
              <a:gd name="T108" fmla="*/ 1529 w 1727"/>
              <a:gd name="T109" fmla="*/ 828 h 1727"/>
              <a:gd name="T110" fmla="*/ 1500 w 1727"/>
              <a:gd name="T111" fmla="*/ 665 h 1727"/>
              <a:gd name="T112" fmla="*/ 1434 w 1727"/>
              <a:gd name="T113" fmla="*/ 517 h 1727"/>
              <a:gd name="T114" fmla="*/ 1335 w 1727"/>
              <a:gd name="T115" fmla="*/ 392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27" h="1727">
                <a:moveTo>
                  <a:pt x="864" y="0"/>
                </a:moveTo>
                <a:lnTo>
                  <a:pt x="886" y="0"/>
                </a:lnTo>
                <a:lnTo>
                  <a:pt x="908" y="1"/>
                </a:lnTo>
                <a:lnTo>
                  <a:pt x="930" y="2"/>
                </a:lnTo>
                <a:lnTo>
                  <a:pt x="952" y="4"/>
                </a:lnTo>
                <a:lnTo>
                  <a:pt x="974" y="7"/>
                </a:lnTo>
                <a:lnTo>
                  <a:pt x="996" y="10"/>
                </a:lnTo>
                <a:lnTo>
                  <a:pt x="1016" y="13"/>
                </a:lnTo>
                <a:lnTo>
                  <a:pt x="1038" y="17"/>
                </a:lnTo>
                <a:lnTo>
                  <a:pt x="1080" y="27"/>
                </a:lnTo>
                <a:lnTo>
                  <a:pt x="1121" y="39"/>
                </a:lnTo>
                <a:lnTo>
                  <a:pt x="1161" y="52"/>
                </a:lnTo>
                <a:lnTo>
                  <a:pt x="1200" y="68"/>
                </a:lnTo>
                <a:lnTo>
                  <a:pt x="1238" y="85"/>
                </a:lnTo>
                <a:lnTo>
                  <a:pt x="1275" y="104"/>
                </a:lnTo>
                <a:lnTo>
                  <a:pt x="1311" y="124"/>
                </a:lnTo>
                <a:lnTo>
                  <a:pt x="1347" y="147"/>
                </a:lnTo>
                <a:lnTo>
                  <a:pt x="1380" y="172"/>
                </a:lnTo>
                <a:lnTo>
                  <a:pt x="1413" y="197"/>
                </a:lnTo>
                <a:lnTo>
                  <a:pt x="1444" y="224"/>
                </a:lnTo>
                <a:lnTo>
                  <a:pt x="1474" y="253"/>
                </a:lnTo>
                <a:lnTo>
                  <a:pt x="1503" y="283"/>
                </a:lnTo>
                <a:lnTo>
                  <a:pt x="1530" y="314"/>
                </a:lnTo>
                <a:lnTo>
                  <a:pt x="1555" y="347"/>
                </a:lnTo>
                <a:lnTo>
                  <a:pt x="1580" y="380"/>
                </a:lnTo>
                <a:lnTo>
                  <a:pt x="1602" y="416"/>
                </a:lnTo>
                <a:lnTo>
                  <a:pt x="1623" y="452"/>
                </a:lnTo>
                <a:lnTo>
                  <a:pt x="1641" y="489"/>
                </a:lnTo>
                <a:lnTo>
                  <a:pt x="1659" y="527"/>
                </a:lnTo>
                <a:lnTo>
                  <a:pt x="1675" y="566"/>
                </a:lnTo>
                <a:lnTo>
                  <a:pt x="1688" y="606"/>
                </a:lnTo>
                <a:lnTo>
                  <a:pt x="1700" y="647"/>
                </a:lnTo>
                <a:lnTo>
                  <a:pt x="1710" y="689"/>
                </a:lnTo>
                <a:lnTo>
                  <a:pt x="1714" y="711"/>
                </a:lnTo>
                <a:lnTo>
                  <a:pt x="1717" y="731"/>
                </a:lnTo>
                <a:lnTo>
                  <a:pt x="1720" y="753"/>
                </a:lnTo>
                <a:lnTo>
                  <a:pt x="1722" y="774"/>
                </a:lnTo>
                <a:lnTo>
                  <a:pt x="1725" y="797"/>
                </a:lnTo>
                <a:lnTo>
                  <a:pt x="1726" y="819"/>
                </a:lnTo>
                <a:lnTo>
                  <a:pt x="1727" y="841"/>
                </a:lnTo>
                <a:lnTo>
                  <a:pt x="1727" y="863"/>
                </a:lnTo>
                <a:lnTo>
                  <a:pt x="1727" y="886"/>
                </a:lnTo>
                <a:lnTo>
                  <a:pt x="1726" y="907"/>
                </a:lnTo>
                <a:lnTo>
                  <a:pt x="1725" y="930"/>
                </a:lnTo>
                <a:lnTo>
                  <a:pt x="1722" y="952"/>
                </a:lnTo>
                <a:lnTo>
                  <a:pt x="1720" y="973"/>
                </a:lnTo>
                <a:lnTo>
                  <a:pt x="1717" y="995"/>
                </a:lnTo>
                <a:lnTo>
                  <a:pt x="1714" y="1016"/>
                </a:lnTo>
                <a:lnTo>
                  <a:pt x="1710" y="1037"/>
                </a:lnTo>
                <a:lnTo>
                  <a:pt x="1700" y="1079"/>
                </a:lnTo>
                <a:lnTo>
                  <a:pt x="1688" y="1120"/>
                </a:lnTo>
                <a:lnTo>
                  <a:pt x="1675" y="1160"/>
                </a:lnTo>
                <a:lnTo>
                  <a:pt x="1659" y="1199"/>
                </a:lnTo>
                <a:lnTo>
                  <a:pt x="1641" y="1238"/>
                </a:lnTo>
                <a:lnTo>
                  <a:pt x="1623" y="1274"/>
                </a:lnTo>
                <a:lnTo>
                  <a:pt x="1602" y="1311"/>
                </a:lnTo>
                <a:lnTo>
                  <a:pt x="1580" y="1346"/>
                </a:lnTo>
                <a:lnTo>
                  <a:pt x="1555" y="1379"/>
                </a:lnTo>
                <a:lnTo>
                  <a:pt x="1530" y="1413"/>
                </a:lnTo>
                <a:lnTo>
                  <a:pt x="1503" y="1444"/>
                </a:lnTo>
                <a:lnTo>
                  <a:pt x="1474" y="1473"/>
                </a:lnTo>
                <a:lnTo>
                  <a:pt x="1444" y="1502"/>
                </a:lnTo>
                <a:lnTo>
                  <a:pt x="1413" y="1529"/>
                </a:lnTo>
                <a:lnTo>
                  <a:pt x="1380" y="1555"/>
                </a:lnTo>
                <a:lnTo>
                  <a:pt x="1347" y="1579"/>
                </a:lnTo>
                <a:lnTo>
                  <a:pt x="1311" y="1602"/>
                </a:lnTo>
                <a:lnTo>
                  <a:pt x="1275" y="1622"/>
                </a:lnTo>
                <a:lnTo>
                  <a:pt x="1238" y="1642"/>
                </a:lnTo>
                <a:lnTo>
                  <a:pt x="1200" y="1659"/>
                </a:lnTo>
                <a:lnTo>
                  <a:pt x="1161" y="1674"/>
                </a:lnTo>
                <a:lnTo>
                  <a:pt x="1121" y="1688"/>
                </a:lnTo>
                <a:lnTo>
                  <a:pt x="1080" y="1699"/>
                </a:lnTo>
                <a:lnTo>
                  <a:pt x="1038" y="1709"/>
                </a:lnTo>
                <a:lnTo>
                  <a:pt x="1016" y="1713"/>
                </a:lnTo>
                <a:lnTo>
                  <a:pt x="996" y="1716"/>
                </a:lnTo>
                <a:lnTo>
                  <a:pt x="974" y="1719"/>
                </a:lnTo>
                <a:lnTo>
                  <a:pt x="952" y="1722"/>
                </a:lnTo>
                <a:lnTo>
                  <a:pt x="930" y="1724"/>
                </a:lnTo>
                <a:lnTo>
                  <a:pt x="908" y="1726"/>
                </a:lnTo>
                <a:lnTo>
                  <a:pt x="886" y="1726"/>
                </a:lnTo>
                <a:lnTo>
                  <a:pt x="864" y="1727"/>
                </a:lnTo>
                <a:lnTo>
                  <a:pt x="841" y="1726"/>
                </a:lnTo>
                <a:lnTo>
                  <a:pt x="820" y="1726"/>
                </a:lnTo>
                <a:lnTo>
                  <a:pt x="797" y="1724"/>
                </a:lnTo>
                <a:lnTo>
                  <a:pt x="775" y="1722"/>
                </a:lnTo>
                <a:lnTo>
                  <a:pt x="754" y="1719"/>
                </a:lnTo>
                <a:lnTo>
                  <a:pt x="732" y="1716"/>
                </a:lnTo>
                <a:lnTo>
                  <a:pt x="711" y="1713"/>
                </a:lnTo>
                <a:lnTo>
                  <a:pt x="690" y="1709"/>
                </a:lnTo>
                <a:lnTo>
                  <a:pt x="648" y="1699"/>
                </a:lnTo>
                <a:lnTo>
                  <a:pt x="607" y="1688"/>
                </a:lnTo>
                <a:lnTo>
                  <a:pt x="567" y="1674"/>
                </a:lnTo>
                <a:lnTo>
                  <a:pt x="528" y="1659"/>
                </a:lnTo>
                <a:lnTo>
                  <a:pt x="489" y="1642"/>
                </a:lnTo>
                <a:lnTo>
                  <a:pt x="452" y="1622"/>
                </a:lnTo>
                <a:lnTo>
                  <a:pt x="416" y="1602"/>
                </a:lnTo>
                <a:lnTo>
                  <a:pt x="381" y="1579"/>
                </a:lnTo>
                <a:lnTo>
                  <a:pt x="348" y="1555"/>
                </a:lnTo>
                <a:lnTo>
                  <a:pt x="314" y="1529"/>
                </a:lnTo>
                <a:lnTo>
                  <a:pt x="283" y="1502"/>
                </a:lnTo>
                <a:lnTo>
                  <a:pt x="254" y="1473"/>
                </a:lnTo>
                <a:lnTo>
                  <a:pt x="225" y="1444"/>
                </a:lnTo>
                <a:lnTo>
                  <a:pt x="198" y="1413"/>
                </a:lnTo>
                <a:lnTo>
                  <a:pt x="172" y="1379"/>
                </a:lnTo>
                <a:lnTo>
                  <a:pt x="148" y="1346"/>
                </a:lnTo>
                <a:lnTo>
                  <a:pt x="125" y="1311"/>
                </a:lnTo>
                <a:lnTo>
                  <a:pt x="105" y="1274"/>
                </a:lnTo>
                <a:lnTo>
                  <a:pt x="85" y="1238"/>
                </a:lnTo>
                <a:lnTo>
                  <a:pt x="68" y="1199"/>
                </a:lnTo>
                <a:lnTo>
                  <a:pt x="53" y="1160"/>
                </a:lnTo>
                <a:lnTo>
                  <a:pt x="39" y="1120"/>
                </a:lnTo>
                <a:lnTo>
                  <a:pt x="28" y="1079"/>
                </a:lnTo>
                <a:lnTo>
                  <a:pt x="18" y="1037"/>
                </a:lnTo>
                <a:lnTo>
                  <a:pt x="14" y="1016"/>
                </a:lnTo>
                <a:lnTo>
                  <a:pt x="11" y="995"/>
                </a:lnTo>
                <a:lnTo>
                  <a:pt x="8" y="973"/>
                </a:lnTo>
                <a:lnTo>
                  <a:pt x="5" y="952"/>
                </a:lnTo>
                <a:lnTo>
                  <a:pt x="3" y="930"/>
                </a:lnTo>
                <a:lnTo>
                  <a:pt x="1" y="907"/>
                </a:lnTo>
                <a:lnTo>
                  <a:pt x="1" y="886"/>
                </a:lnTo>
                <a:lnTo>
                  <a:pt x="0" y="863"/>
                </a:lnTo>
                <a:lnTo>
                  <a:pt x="1" y="841"/>
                </a:lnTo>
                <a:lnTo>
                  <a:pt x="1" y="819"/>
                </a:lnTo>
                <a:lnTo>
                  <a:pt x="3" y="797"/>
                </a:lnTo>
                <a:lnTo>
                  <a:pt x="5" y="774"/>
                </a:lnTo>
                <a:lnTo>
                  <a:pt x="8" y="753"/>
                </a:lnTo>
                <a:lnTo>
                  <a:pt x="11" y="731"/>
                </a:lnTo>
                <a:lnTo>
                  <a:pt x="14" y="711"/>
                </a:lnTo>
                <a:lnTo>
                  <a:pt x="18" y="689"/>
                </a:lnTo>
                <a:lnTo>
                  <a:pt x="28" y="647"/>
                </a:lnTo>
                <a:lnTo>
                  <a:pt x="39" y="606"/>
                </a:lnTo>
                <a:lnTo>
                  <a:pt x="53" y="566"/>
                </a:lnTo>
                <a:lnTo>
                  <a:pt x="68" y="527"/>
                </a:lnTo>
                <a:lnTo>
                  <a:pt x="85" y="489"/>
                </a:lnTo>
                <a:lnTo>
                  <a:pt x="105" y="452"/>
                </a:lnTo>
                <a:lnTo>
                  <a:pt x="125" y="416"/>
                </a:lnTo>
                <a:lnTo>
                  <a:pt x="148" y="380"/>
                </a:lnTo>
                <a:lnTo>
                  <a:pt x="172" y="347"/>
                </a:lnTo>
                <a:lnTo>
                  <a:pt x="198" y="314"/>
                </a:lnTo>
                <a:lnTo>
                  <a:pt x="225" y="283"/>
                </a:lnTo>
                <a:lnTo>
                  <a:pt x="254" y="253"/>
                </a:lnTo>
                <a:lnTo>
                  <a:pt x="283" y="224"/>
                </a:lnTo>
                <a:lnTo>
                  <a:pt x="314" y="197"/>
                </a:lnTo>
                <a:lnTo>
                  <a:pt x="348" y="172"/>
                </a:lnTo>
                <a:lnTo>
                  <a:pt x="381" y="147"/>
                </a:lnTo>
                <a:lnTo>
                  <a:pt x="416" y="124"/>
                </a:lnTo>
                <a:lnTo>
                  <a:pt x="452" y="104"/>
                </a:lnTo>
                <a:lnTo>
                  <a:pt x="489" y="85"/>
                </a:lnTo>
                <a:lnTo>
                  <a:pt x="528" y="68"/>
                </a:lnTo>
                <a:lnTo>
                  <a:pt x="567" y="52"/>
                </a:lnTo>
                <a:lnTo>
                  <a:pt x="607" y="39"/>
                </a:lnTo>
                <a:lnTo>
                  <a:pt x="648" y="27"/>
                </a:lnTo>
                <a:lnTo>
                  <a:pt x="690" y="17"/>
                </a:lnTo>
                <a:lnTo>
                  <a:pt x="711" y="13"/>
                </a:lnTo>
                <a:lnTo>
                  <a:pt x="732" y="10"/>
                </a:lnTo>
                <a:lnTo>
                  <a:pt x="754" y="7"/>
                </a:lnTo>
                <a:lnTo>
                  <a:pt x="775" y="4"/>
                </a:lnTo>
                <a:lnTo>
                  <a:pt x="797" y="2"/>
                </a:lnTo>
                <a:lnTo>
                  <a:pt x="820" y="1"/>
                </a:lnTo>
                <a:lnTo>
                  <a:pt x="841" y="0"/>
                </a:lnTo>
                <a:lnTo>
                  <a:pt x="864" y="0"/>
                </a:lnTo>
                <a:close/>
                <a:moveTo>
                  <a:pt x="1335" y="392"/>
                </a:moveTo>
                <a:lnTo>
                  <a:pt x="1312" y="369"/>
                </a:lnTo>
                <a:lnTo>
                  <a:pt x="1287" y="349"/>
                </a:lnTo>
                <a:lnTo>
                  <a:pt x="1262" y="329"/>
                </a:lnTo>
                <a:lnTo>
                  <a:pt x="1237" y="310"/>
                </a:lnTo>
                <a:lnTo>
                  <a:pt x="1210" y="293"/>
                </a:lnTo>
                <a:lnTo>
                  <a:pt x="1181" y="278"/>
                </a:lnTo>
                <a:lnTo>
                  <a:pt x="1152" y="263"/>
                </a:lnTo>
                <a:lnTo>
                  <a:pt x="1123" y="250"/>
                </a:lnTo>
                <a:lnTo>
                  <a:pt x="1093" y="238"/>
                </a:lnTo>
                <a:lnTo>
                  <a:pt x="1062" y="227"/>
                </a:lnTo>
                <a:lnTo>
                  <a:pt x="1030" y="218"/>
                </a:lnTo>
                <a:lnTo>
                  <a:pt x="998" y="211"/>
                </a:lnTo>
                <a:lnTo>
                  <a:pt x="965" y="204"/>
                </a:lnTo>
                <a:lnTo>
                  <a:pt x="932" y="200"/>
                </a:lnTo>
                <a:lnTo>
                  <a:pt x="898" y="198"/>
                </a:lnTo>
                <a:lnTo>
                  <a:pt x="864" y="197"/>
                </a:lnTo>
                <a:lnTo>
                  <a:pt x="829" y="198"/>
                </a:lnTo>
                <a:lnTo>
                  <a:pt x="796" y="200"/>
                </a:lnTo>
                <a:lnTo>
                  <a:pt x="762" y="204"/>
                </a:lnTo>
                <a:lnTo>
                  <a:pt x="729" y="211"/>
                </a:lnTo>
                <a:lnTo>
                  <a:pt x="698" y="218"/>
                </a:lnTo>
                <a:lnTo>
                  <a:pt x="665" y="227"/>
                </a:lnTo>
                <a:lnTo>
                  <a:pt x="635" y="238"/>
                </a:lnTo>
                <a:lnTo>
                  <a:pt x="605" y="250"/>
                </a:lnTo>
                <a:lnTo>
                  <a:pt x="575" y="263"/>
                </a:lnTo>
                <a:lnTo>
                  <a:pt x="546" y="278"/>
                </a:lnTo>
                <a:lnTo>
                  <a:pt x="518" y="293"/>
                </a:lnTo>
                <a:lnTo>
                  <a:pt x="491" y="310"/>
                </a:lnTo>
                <a:lnTo>
                  <a:pt x="465" y="329"/>
                </a:lnTo>
                <a:lnTo>
                  <a:pt x="440" y="349"/>
                </a:lnTo>
                <a:lnTo>
                  <a:pt x="416" y="369"/>
                </a:lnTo>
                <a:lnTo>
                  <a:pt x="392" y="392"/>
                </a:lnTo>
                <a:lnTo>
                  <a:pt x="370" y="415"/>
                </a:lnTo>
                <a:lnTo>
                  <a:pt x="350" y="440"/>
                </a:lnTo>
                <a:lnTo>
                  <a:pt x="329" y="464"/>
                </a:lnTo>
                <a:lnTo>
                  <a:pt x="311" y="490"/>
                </a:lnTo>
                <a:lnTo>
                  <a:pt x="294" y="517"/>
                </a:lnTo>
                <a:lnTo>
                  <a:pt x="278" y="545"/>
                </a:lnTo>
                <a:lnTo>
                  <a:pt x="263" y="575"/>
                </a:lnTo>
                <a:lnTo>
                  <a:pt x="249" y="604"/>
                </a:lnTo>
                <a:lnTo>
                  <a:pt x="238" y="634"/>
                </a:lnTo>
                <a:lnTo>
                  <a:pt x="227" y="665"/>
                </a:lnTo>
                <a:lnTo>
                  <a:pt x="218" y="697"/>
                </a:lnTo>
                <a:lnTo>
                  <a:pt x="211" y="729"/>
                </a:lnTo>
                <a:lnTo>
                  <a:pt x="205" y="761"/>
                </a:lnTo>
                <a:lnTo>
                  <a:pt x="201" y="795"/>
                </a:lnTo>
                <a:lnTo>
                  <a:pt x="199" y="828"/>
                </a:lnTo>
                <a:lnTo>
                  <a:pt x="198" y="863"/>
                </a:lnTo>
                <a:lnTo>
                  <a:pt x="199" y="898"/>
                </a:lnTo>
                <a:lnTo>
                  <a:pt x="201" y="931"/>
                </a:lnTo>
                <a:lnTo>
                  <a:pt x="205" y="965"/>
                </a:lnTo>
                <a:lnTo>
                  <a:pt x="211" y="998"/>
                </a:lnTo>
                <a:lnTo>
                  <a:pt x="218" y="1029"/>
                </a:lnTo>
                <a:lnTo>
                  <a:pt x="227" y="1062"/>
                </a:lnTo>
                <a:lnTo>
                  <a:pt x="238" y="1092"/>
                </a:lnTo>
                <a:lnTo>
                  <a:pt x="249" y="1122"/>
                </a:lnTo>
                <a:lnTo>
                  <a:pt x="263" y="1152"/>
                </a:lnTo>
                <a:lnTo>
                  <a:pt x="278" y="1181"/>
                </a:lnTo>
                <a:lnTo>
                  <a:pt x="294" y="1209"/>
                </a:lnTo>
                <a:lnTo>
                  <a:pt x="311" y="1236"/>
                </a:lnTo>
                <a:lnTo>
                  <a:pt x="329" y="1262"/>
                </a:lnTo>
                <a:lnTo>
                  <a:pt x="350" y="1287"/>
                </a:lnTo>
                <a:lnTo>
                  <a:pt x="370" y="1311"/>
                </a:lnTo>
                <a:lnTo>
                  <a:pt x="392" y="1335"/>
                </a:lnTo>
                <a:lnTo>
                  <a:pt x="416" y="1357"/>
                </a:lnTo>
                <a:lnTo>
                  <a:pt x="440" y="1377"/>
                </a:lnTo>
                <a:lnTo>
                  <a:pt x="465" y="1398"/>
                </a:lnTo>
                <a:lnTo>
                  <a:pt x="491" y="1416"/>
                </a:lnTo>
                <a:lnTo>
                  <a:pt x="518" y="1433"/>
                </a:lnTo>
                <a:lnTo>
                  <a:pt x="546" y="1449"/>
                </a:lnTo>
                <a:lnTo>
                  <a:pt x="575" y="1463"/>
                </a:lnTo>
                <a:lnTo>
                  <a:pt x="605" y="1478"/>
                </a:lnTo>
                <a:lnTo>
                  <a:pt x="635" y="1489"/>
                </a:lnTo>
                <a:lnTo>
                  <a:pt x="665" y="1500"/>
                </a:lnTo>
                <a:lnTo>
                  <a:pt x="698" y="1509"/>
                </a:lnTo>
                <a:lnTo>
                  <a:pt x="729" y="1516"/>
                </a:lnTo>
                <a:lnTo>
                  <a:pt x="762" y="1522"/>
                </a:lnTo>
                <a:lnTo>
                  <a:pt x="796" y="1526"/>
                </a:lnTo>
                <a:lnTo>
                  <a:pt x="829" y="1528"/>
                </a:lnTo>
                <a:lnTo>
                  <a:pt x="864" y="1529"/>
                </a:lnTo>
                <a:lnTo>
                  <a:pt x="898" y="1528"/>
                </a:lnTo>
                <a:lnTo>
                  <a:pt x="932" y="1526"/>
                </a:lnTo>
                <a:lnTo>
                  <a:pt x="965" y="1522"/>
                </a:lnTo>
                <a:lnTo>
                  <a:pt x="998" y="1516"/>
                </a:lnTo>
                <a:lnTo>
                  <a:pt x="1030" y="1509"/>
                </a:lnTo>
                <a:lnTo>
                  <a:pt x="1062" y="1500"/>
                </a:lnTo>
                <a:lnTo>
                  <a:pt x="1093" y="1489"/>
                </a:lnTo>
                <a:lnTo>
                  <a:pt x="1123" y="1478"/>
                </a:lnTo>
                <a:lnTo>
                  <a:pt x="1152" y="1463"/>
                </a:lnTo>
                <a:lnTo>
                  <a:pt x="1181" y="1449"/>
                </a:lnTo>
                <a:lnTo>
                  <a:pt x="1210" y="1433"/>
                </a:lnTo>
                <a:lnTo>
                  <a:pt x="1237" y="1416"/>
                </a:lnTo>
                <a:lnTo>
                  <a:pt x="1262" y="1398"/>
                </a:lnTo>
                <a:lnTo>
                  <a:pt x="1287" y="1377"/>
                </a:lnTo>
                <a:lnTo>
                  <a:pt x="1312" y="1357"/>
                </a:lnTo>
                <a:lnTo>
                  <a:pt x="1335" y="1335"/>
                </a:lnTo>
                <a:lnTo>
                  <a:pt x="1357" y="1311"/>
                </a:lnTo>
                <a:lnTo>
                  <a:pt x="1378" y="1287"/>
                </a:lnTo>
                <a:lnTo>
                  <a:pt x="1397" y="1262"/>
                </a:lnTo>
                <a:lnTo>
                  <a:pt x="1416" y="1236"/>
                </a:lnTo>
                <a:lnTo>
                  <a:pt x="1434" y="1209"/>
                </a:lnTo>
                <a:lnTo>
                  <a:pt x="1449" y="1181"/>
                </a:lnTo>
                <a:lnTo>
                  <a:pt x="1464" y="1152"/>
                </a:lnTo>
                <a:lnTo>
                  <a:pt x="1477" y="1122"/>
                </a:lnTo>
                <a:lnTo>
                  <a:pt x="1489" y="1092"/>
                </a:lnTo>
                <a:lnTo>
                  <a:pt x="1500" y="1062"/>
                </a:lnTo>
                <a:lnTo>
                  <a:pt x="1509" y="1029"/>
                </a:lnTo>
                <a:lnTo>
                  <a:pt x="1516" y="998"/>
                </a:lnTo>
                <a:lnTo>
                  <a:pt x="1523" y="965"/>
                </a:lnTo>
                <a:lnTo>
                  <a:pt x="1527" y="931"/>
                </a:lnTo>
                <a:lnTo>
                  <a:pt x="1529" y="898"/>
                </a:lnTo>
                <a:lnTo>
                  <a:pt x="1530" y="863"/>
                </a:lnTo>
                <a:lnTo>
                  <a:pt x="1529" y="828"/>
                </a:lnTo>
                <a:lnTo>
                  <a:pt x="1527" y="795"/>
                </a:lnTo>
                <a:lnTo>
                  <a:pt x="1523" y="761"/>
                </a:lnTo>
                <a:lnTo>
                  <a:pt x="1516" y="729"/>
                </a:lnTo>
                <a:lnTo>
                  <a:pt x="1509" y="697"/>
                </a:lnTo>
                <a:lnTo>
                  <a:pt x="1500" y="665"/>
                </a:lnTo>
                <a:lnTo>
                  <a:pt x="1489" y="634"/>
                </a:lnTo>
                <a:lnTo>
                  <a:pt x="1477" y="604"/>
                </a:lnTo>
                <a:lnTo>
                  <a:pt x="1464" y="575"/>
                </a:lnTo>
                <a:lnTo>
                  <a:pt x="1449" y="545"/>
                </a:lnTo>
                <a:lnTo>
                  <a:pt x="1434" y="517"/>
                </a:lnTo>
                <a:lnTo>
                  <a:pt x="1416" y="490"/>
                </a:lnTo>
                <a:lnTo>
                  <a:pt x="1397" y="464"/>
                </a:lnTo>
                <a:lnTo>
                  <a:pt x="1378" y="440"/>
                </a:lnTo>
                <a:lnTo>
                  <a:pt x="1357" y="415"/>
                </a:lnTo>
                <a:lnTo>
                  <a:pt x="1335" y="392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0"/>
          <p:cNvSpPr>
            <a:spLocks/>
          </p:cNvSpPr>
          <p:nvPr/>
        </p:nvSpPr>
        <p:spPr bwMode="auto">
          <a:xfrm>
            <a:off x="3910883" y="2910328"/>
            <a:ext cx="260835" cy="260835"/>
          </a:xfrm>
          <a:custGeom>
            <a:avLst/>
            <a:gdLst>
              <a:gd name="T0" fmla="*/ 285 w 517"/>
              <a:gd name="T1" fmla="*/ 1 h 517"/>
              <a:gd name="T2" fmla="*/ 324 w 517"/>
              <a:gd name="T3" fmla="*/ 7 h 517"/>
              <a:gd name="T4" fmla="*/ 359 w 517"/>
              <a:gd name="T5" fmla="*/ 20 h 517"/>
              <a:gd name="T6" fmla="*/ 393 w 517"/>
              <a:gd name="T7" fmla="*/ 37 h 517"/>
              <a:gd name="T8" fmla="*/ 423 w 517"/>
              <a:gd name="T9" fmla="*/ 58 h 517"/>
              <a:gd name="T10" fmla="*/ 450 w 517"/>
              <a:gd name="T11" fmla="*/ 84 h 517"/>
              <a:gd name="T12" fmla="*/ 473 w 517"/>
              <a:gd name="T13" fmla="*/ 113 h 517"/>
              <a:gd name="T14" fmla="*/ 492 w 517"/>
              <a:gd name="T15" fmla="*/ 146 h 517"/>
              <a:gd name="T16" fmla="*/ 505 w 517"/>
              <a:gd name="T17" fmla="*/ 181 h 517"/>
              <a:gd name="T18" fmla="*/ 514 w 517"/>
              <a:gd name="T19" fmla="*/ 219 h 517"/>
              <a:gd name="T20" fmla="*/ 517 w 517"/>
              <a:gd name="T21" fmla="*/ 258 h 517"/>
              <a:gd name="T22" fmla="*/ 514 w 517"/>
              <a:gd name="T23" fmla="*/ 298 h 517"/>
              <a:gd name="T24" fmla="*/ 505 w 517"/>
              <a:gd name="T25" fmla="*/ 335 h 517"/>
              <a:gd name="T26" fmla="*/ 492 w 517"/>
              <a:gd name="T27" fmla="*/ 370 h 517"/>
              <a:gd name="T28" fmla="*/ 473 w 517"/>
              <a:gd name="T29" fmla="*/ 403 h 517"/>
              <a:gd name="T30" fmla="*/ 450 w 517"/>
              <a:gd name="T31" fmla="*/ 432 h 517"/>
              <a:gd name="T32" fmla="*/ 423 w 517"/>
              <a:gd name="T33" fmla="*/ 458 h 517"/>
              <a:gd name="T34" fmla="*/ 393 w 517"/>
              <a:gd name="T35" fmla="*/ 479 h 517"/>
              <a:gd name="T36" fmla="*/ 359 w 517"/>
              <a:gd name="T37" fmla="*/ 497 h 517"/>
              <a:gd name="T38" fmla="*/ 324 w 517"/>
              <a:gd name="T39" fmla="*/ 509 h 517"/>
              <a:gd name="T40" fmla="*/ 285 w 517"/>
              <a:gd name="T41" fmla="*/ 515 h 517"/>
              <a:gd name="T42" fmla="*/ 245 w 517"/>
              <a:gd name="T43" fmla="*/ 516 h 517"/>
              <a:gd name="T44" fmla="*/ 207 w 517"/>
              <a:gd name="T45" fmla="*/ 512 h 517"/>
              <a:gd name="T46" fmla="*/ 170 w 517"/>
              <a:gd name="T47" fmla="*/ 501 h 517"/>
              <a:gd name="T48" fmla="*/ 136 w 517"/>
              <a:gd name="T49" fmla="*/ 486 h 517"/>
              <a:gd name="T50" fmla="*/ 105 w 517"/>
              <a:gd name="T51" fmla="*/ 465 h 517"/>
              <a:gd name="T52" fmla="*/ 76 w 517"/>
              <a:gd name="T53" fmla="*/ 441 h 517"/>
              <a:gd name="T54" fmla="*/ 52 w 517"/>
              <a:gd name="T55" fmla="*/ 412 h 517"/>
              <a:gd name="T56" fmla="*/ 31 w 517"/>
              <a:gd name="T57" fmla="*/ 381 h 517"/>
              <a:gd name="T58" fmla="*/ 16 w 517"/>
              <a:gd name="T59" fmla="*/ 347 h 517"/>
              <a:gd name="T60" fmla="*/ 5 w 517"/>
              <a:gd name="T61" fmla="*/ 310 h 517"/>
              <a:gd name="T62" fmla="*/ 1 w 517"/>
              <a:gd name="T63" fmla="*/ 271 h 517"/>
              <a:gd name="T64" fmla="*/ 2 w 517"/>
              <a:gd name="T65" fmla="*/ 232 h 517"/>
              <a:gd name="T66" fmla="*/ 8 w 517"/>
              <a:gd name="T67" fmla="*/ 193 h 517"/>
              <a:gd name="T68" fmla="*/ 20 w 517"/>
              <a:gd name="T69" fmla="*/ 158 h 517"/>
              <a:gd name="T70" fmla="*/ 38 w 517"/>
              <a:gd name="T71" fmla="*/ 124 h 517"/>
              <a:gd name="T72" fmla="*/ 59 w 517"/>
              <a:gd name="T73" fmla="*/ 94 h 517"/>
              <a:gd name="T74" fmla="*/ 85 w 517"/>
              <a:gd name="T75" fmla="*/ 67 h 517"/>
              <a:gd name="T76" fmla="*/ 114 w 517"/>
              <a:gd name="T77" fmla="*/ 44 h 517"/>
              <a:gd name="T78" fmla="*/ 147 w 517"/>
              <a:gd name="T79" fmla="*/ 25 h 517"/>
              <a:gd name="T80" fmla="*/ 182 w 517"/>
              <a:gd name="T81" fmla="*/ 12 h 517"/>
              <a:gd name="T82" fmla="*/ 219 w 517"/>
              <a:gd name="T83" fmla="*/ 3 h 517"/>
              <a:gd name="T84" fmla="*/ 259 w 517"/>
              <a:gd name="T85" fmla="*/ 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7" h="517">
                <a:moveTo>
                  <a:pt x="259" y="0"/>
                </a:moveTo>
                <a:lnTo>
                  <a:pt x="272" y="0"/>
                </a:lnTo>
                <a:lnTo>
                  <a:pt x="285" y="1"/>
                </a:lnTo>
                <a:lnTo>
                  <a:pt x="298" y="3"/>
                </a:lnTo>
                <a:lnTo>
                  <a:pt x="311" y="5"/>
                </a:lnTo>
                <a:lnTo>
                  <a:pt x="324" y="7"/>
                </a:lnTo>
                <a:lnTo>
                  <a:pt x="336" y="12"/>
                </a:lnTo>
                <a:lnTo>
                  <a:pt x="347" y="15"/>
                </a:lnTo>
                <a:lnTo>
                  <a:pt x="359" y="20"/>
                </a:lnTo>
                <a:lnTo>
                  <a:pt x="371" y="25"/>
                </a:lnTo>
                <a:lnTo>
                  <a:pt x="382" y="31"/>
                </a:lnTo>
                <a:lnTo>
                  <a:pt x="393" y="37"/>
                </a:lnTo>
                <a:lnTo>
                  <a:pt x="404" y="44"/>
                </a:lnTo>
                <a:lnTo>
                  <a:pt x="413" y="51"/>
                </a:lnTo>
                <a:lnTo>
                  <a:pt x="423" y="58"/>
                </a:lnTo>
                <a:lnTo>
                  <a:pt x="433" y="67"/>
                </a:lnTo>
                <a:lnTo>
                  <a:pt x="441" y="75"/>
                </a:lnTo>
                <a:lnTo>
                  <a:pt x="450" y="84"/>
                </a:lnTo>
                <a:lnTo>
                  <a:pt x="458" y="94"/>
                </a:lnTo>
                <a:lnTo>
                  <a:pt x="466" y="104"/>
                </a:lnTo>
                <a:lnTo>
                  <a:pt x="473" y="113"/>
                </a:lnTo>
                <a:lnTo>
                  <a:pt x="479" y="124"/>
                </a:lnTo>
                <a:lnTo>
                  <a:pt x="486" y="135"/>
                </a:lnTo>
                <a:lnTo>
                  <a:pt x="492" y="146"/>
                </a:lnTo>
                <a:lnTo>
                  <a:pt x="497" y="158"/>
                </a:lnTo>
                <a:lnTo>
                  <a:pt x="502" y="169"/>
                </a:lnTo>
                <a:lnTo>
                  <a:pt x="505" y="181"/>
                </a:lnTo>
                <a:lnTo>
                  <a:pt x="509" y="193"/>
                </a:lnTo>
                <a:lnTo>
                  <a:pt x="512" y="206"/>
                </a:lnTo>
                <a:lnTo>
                  <a:pt x="514" y="219"/>
                </a:lnTo>
                <a:lnTo>
                  <a:pt x="516" y="232"/>
                </a:lnTo>
                <a:lnTo>
                  <a:pt x="517" y="245"/>
                </a:lnTo>
                <a:lnTo>
                  <a:pt x="517" y="258"/>
                </a:lnTo>
                <a:lnTo>
                  <a:pt x="517" y="271"/>
                </a:lnTo>
                <a:lnTo>
                  <a:pt x="516" y="285"/>
                </a:lnTo>
                <a:lnTo>
                  <a:pt x="514" y="298"/>
                </a:lnTo>
                <a:lnTo>
                  <a:pt x="512" y="310"/>
                </a:lnTo>
                <a:lnTo>
                  <a:pt x="509" y="323"/>
                </a:lnTo>
                <a:lnTo>
                  <a:pt x="505" y="335"/>
                </a:lnTo>
                <a:lnTo>
                  <a:pt x="502" y="347"/>
                </a:lnTo>
                <a:lnTo>
                  <a:pt x="497" y="358"/>
                </a:lnTo>
                <a:lnTo>
                  <a:pt x="492" y="370"/>
                </a:lnTo>
                <a:lnTo>
                  <a:pt x="486" y="381"/>
                </a:lnTo>
                <a:lnTo>
                  <a:pt x="479" y="392"/>
                </a:lnTo>
                <a:lnTo>
                  <a:pt x="473" y="403"/>
                </a:lnTo>
                <a:lnTo>
                  <a:pt x="466" y="412"/>
                </a:lnTo>
                <a:lnTo>
                  <a:pt x="458" y="422"/>
                </a:lnTo>
                <a:lnTo>
                  <a:pt x="450" y="432"/>
                </a:lnTo>
                <a:lnTo>
                  <a:pt x="441" y="441"/>
                </a:lnTo>
                <a:lnTo>
                  <a:pt x="433" y="449"/>
                </a:lnTo>
                <a:lnTo>
                  <a:pt x="423" y="458"/>
                </a:lnTo>
                <a:lnTo>
                  <a:pt x="413" y="465"/>
                </a:lnTo>
                <a:lnTo>
                  <a:pt x="404" y="473"/>
                </a:lnTo>
                <a:lnTo>
                  <a:pt x="393" y="479"/>
                </a:lnTo>
                <a:lnTo>
                  <a:pt x="382" y="486"/>
                </a:lnTo>
                <a:lnTo>
                  <a:pt x="371" y="491"/>
                </a:lnTo>
                <a:lnTo>
                  <a:pt x="359" y="497"/>
                </a:lnTo>
                <a:lnTo>
                  <a:pt x="347" y="501"/>
                </a:lnTo>
                <a:lnTo>
                  <a:pt x="336" y="505"/>
                </a:lnTo>
                <a:lnTo>
                  <a:pt x="324" y="509"/>
                </a:lnTo>
                <a:lnTo>
                  <a:pt x="311" y="512"/>
                </a:lnTo>
                <a:lnTo>
                  <a:pt x="298" y="514"/>
                </a:lnTo>
                <a:lnTo>
                  <a:pt x="285" y="515"/>
                </a:lnTo>
                <a:lnTo>
                  <a:pt x="272" y="516"/>
                </a:lnTo>
                <a:lnTo>
                  <a:pt x="259" y="517"/>
                </a:lnTo>
                <a:lnTo>
                  <a:pt x="245" y="516"/>
                </a:lnTo>
                <a:lnTo>
                  <a:pt x="232" y="515"/>
                </a:lnTo>
                <a:lnTo>
                  <a:pt x="219" y="514"/>
                </a:lnTo>
                <a:lnTo>
                  <a:pt x="207" y="512"/>
                </a:lnTo>
                <a:lnTo>
                  <a:pt x="194" y="509"/>
                </a:lnTo>
                <a:lnTo>
                  <a:pt x="182" y="505"/>
                </a:lnTo>
                <a:lnTo>
                  <a:pt x="170" y="501"/>
                </a:lnTo>
                <a:lnTo>
                  <a:pt x="158" y="497"/>
                </a:lnTo>
                <a:lnTo>
                  <a:pt x="147" y="491"/>
                </a:lnTo>
                <a:lnTo>
                  <a:pt x="136" y="486"/>
                </a:lnTo>
                <a:lnTo>
                  <a:pt x="125" y="479"/>
                </a:lnTo>
                <a:lnTo>
                  <a:pt x="114" y="473"/>
                </a:lnTo>
                <a:lnTo>
                  <a:pt x="105" y="465"/>
                </a:lnTo>
                <a:lnTo>
                  <a:pt x="95" y="458"/>
                </a:lnTo>
                <a:lnTo>
                  <a:pt x="85" y="449"/>
                </a:lnTo>
                <a:lnTo>
                  <a:pt x="76" y="441"/>
                </a:lnTo>
                <a:lnTo>
                  <a:pt x="68" y="432"/>
                </a:lnTo>
                <a:lnTo>
                  <a:pt x="59" y="422"/>
                </a:lnTo>
                <a:lnTo>
                  <a:pt x="52" y="412"/>
                </a:lnTo>
                <a:lnTo>
                  <a:pt x="44" y="403"/>
                </a:lnTo>
                <a:lnTo>
                  <a:pt x="38" y="392"/>
                </a:lnTo>
                <a:lnTo>
                  <a:pt x="31" y="381"/>
                </a:lnTo>
                <a:lnTo>
                  <a:pt x="26" y="370"/>
                </a:lnTo>
                <a:lnTo>
                  <a:pt x="20" y="358"/>
                </a:lnTo>
                <a:lnTo>
                  <a:pt x="16" y="347"/>
                </a:lnTo>
                <a:lnTo>
                  <a:pt x="12" y="335"/>
                </a:lnTo>
                <a:lnTo>
                  <a:pt x="8" y="323"/>
                </a:lnTo>
                <a:lnTo>
                  <a:pt x="5" y="310"/>
                </a:lnTo>
                <a:lnTo>
                  <a:pt x="3" y="298"/>
                </a:lnTo>
                <a:lnTo>
                  <a:pt x="2" y="285"/>
                </a:lnTo>
                <a:lnTo>
                  <a:pt x="1" y="271"/>
                </a:lnTo>
                <a:lnTo>
                  <a:pt x="0" y="258"/>
                </a:lnTo>
                <a:lnTo>
                  <a:pt x="1" y="245"/>
                </a:lnTo>
                <a:lnTo>
                  <a:pt x="2" y="232"/>
                </a:lnTo>
                <a:lnTo>
                  <a:pt x="3" y="219"/>
                </a:lnTo>
                <a:lnTo>
                  <a:pt x="5" y="206"/>
                </a:lnTo>
                <a:lnTo>
                  <a:pt x="8" y="193"/>
                </a:lnTo>
                <a:lnTo>
                  <a:pt x="12" y="181"/>
                </a:lnTo>
                <a:lnTo>
                  <a:pt x="16" y="169"/>
                </a:lnTo>
                <a:lnTo>
                  <a:pt x="20" y="158"/>
                </a:lnTo>
                <a:lnTo>
                  <a:pt x="26" y="146"/>
                </a:lnTo>
                <a:lnTo>
                  <a:pt x="31" y="135"/>
                </a:lnTo>
                <a:lnTo>
                  <a:pt x="38" y="124"/>
                </a:lnTo>
                <a:lnTo>
                  <a:pt x="44" y="113"/>
                </a:lnTo>
                <a:lnTo>
                  <a:pt x="52" y="104"/>
                </a:lnTo>
                <a:lnTo>
                  <a:pt x="59" y="94"/>
                </a:lnTo>
                <a:lnTo>
                  <a:pt x="68" y="84"/>
                </a:lnTo>
                <a:lnTo>
                  <a:pt x="76" y="75"/>
                </a:lnTo>
                <a:lnTo>
                  <a:pt x="85" y="67"/>
                </a:lnTo>
                <a:lnTo>
                  <a:pt x="95" y="58"/>
                </a:lnTo>
                <a:lnTo>
                  <a:pt x="105" y="51"/>
                </a:lnTo>
                <a:lnTo>
                  <a:pt x="114" y="44"/>
                </a:lnTo>
                <a:lnTo>
                  <a:pt x="125" y="37"/>
                </a:lnTo>
                <a:lnTo>
                  <a:pt x="136" y="31"/>
                </a:lnTo>
                <a:lnTo>
                  <a:pt x="147" y="25"/>
                </a:lnTo>
                <a:lnTo>
                  <a:pt x="158" y="20"/>
                </a:lnTo>
                <a:lnTo>
                  <a:pt x="170" y="15"/>
                </a:lnTo>
                <a:lnTo>
                  <a:pt x="182" y="12"/>
                </a:lnTo>
                <a:lnTo>
                  <a:pt x="194" y="7"/>
                </a:lnTo>
                <a:lnTo>
                  <a:pt x="207" y="5"/>
                </a:lnTo>
                <a:lnTo>
                  <a:pt x="219" y="3"/>
                </a:lnTo>
                <a:lnTo>
                  <a:pt x="232" y="1"/>
                </a:lnTo>
                <a:lnTo>
                  <a:pt x="245" y="0"/>
                </a:lnTo>
                <a:lnTo>
                  <a:pt x="259" y="0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9" name="Group 78"/>
          <p:cNvGrpSpPr/>
          <p:nvPr/>
        </p:nvGrpSpPr>
        <p:grpSpPr>
          <a:xfrm>
            <a:off x="1355323" y="4321861"/>
            <a:ext cx="461246" cy="461246"/>
            <a:chOff x="2866981" y="4629046"/>
            <a:chExt cx="461246" cy="461246"/>
          </a:xfrm>
        </p:grpSpPr>
        <p:sp>
          <p:nvSpPr>
            <p:cNvPr id="80" name="Oval 79"/>
            <p:cNvSpPr/>
            <p:nvPr/>
          </p:nvSpPr>
          <p:spPr>
            <a:xfrm>
              <a:off x="2866981" y="4629046"/>
              <a:ext cx="461246" cy="461246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2936164" y="4675003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1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3368227" y="4321861"/>
            <a:ext cx="461246" cy="461246"/>
            <a:chOff x="4988138" y="4172999"/>
            <a:chExt cx="461246" cy="461246"/>
          </a:xfrm>
        </p:grpSpPr>
        <p:sp>
          <p:nvSpPr>
            <p:cNvPr id="118" name="Oval 117"/>
            <p:cNvSpPr/>
            <p:nvPr/>
          </p:nvSpPr>
          <p:spPr>
            <a:xfrm>
              <a:off x="4988138" y="4172999"/>
              <a:ext cx="461246" cy="461246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5067918" y="422716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2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5381131" y="4321861"/>
            <a:ext cx="461246" cy="461246"/>
            <a:chOff x="3656026" y="2789667"/>
            <a:chExt cx="461246" cy="461246"/>
          </a:xfrm>
        </p:grpSpPr>
        <p:sp>
          <p:nvSpPr>
            <p:cNvPr id="121" name="Oval 120"/>
            <p:cNvSpPr/>
            <p:nvPr/>
          </p:nvSpPr>
          <p:spPr>
            <a:xfrm>
              <a:off x="3656026" y="2789667"/>
              <a:ext cx="461246" cy="461246"/>
            </a:xfrm>
            <a:prstGeom prst="ellipse">
              <a:avLst/>
            </a:prstGeom>
            <a:solidFill>
              <a:srgbClr val="E99E0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3735055" y="2830517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3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7394035" y="4321861"/>
            <a:ext cx="461246" cy="461246"/>
            <a:chOff x="5814237" y="2417365"/>
            <a:chExt cx="461246" cy="461246"/>
          </a:xfrm>
        </p:grpSpPr>
        <p:sp>
          <p:nvSpPr>
            <p:cNvPr id="124" name="Oval 123"/>
            <p:cNvSpPr/>
            <p:nvPr/>
          </p:nvSpPr>
          <p:spPr>
            <a:xfrm>
              <a:off x="5814237" y="2417365"/>
              <a:ext cx="461246" cy="461246"/>
            </a:xfrm>
            <a:prstGeom prst="ellipse">
              <a:avLst/>
            </a:prstGeom>
            <a:solidFill>
              <a:srgbClr val="227C13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5874836" y="2445900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4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26" name="Rectangle 33"/>
          <p:cNvSpPr>
            <a:spLocks/>
          </p:cNvSpPr>
          <p:nvPr/>
        </p:nvSpPr>
        <p:spPr bwMode="auto">
          <a:xfrm>
            <a:off x="2829451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27" name="Rectangle 33"/>
          <p:cNvSpPr>
            <a:spLocks/>
          </p:cNvSpPr>
          <p:nvPr/>
        </p:nvSpPr>
        <p:spPr bwMode="auto">
          <a:xfrm>
            <a:off x="4788880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28" name="Rectangle 33"/>
          <p:cNvSpPr>
            <a:spLocks/>
          </p:cNvSpPr>
          <p:nvPr/>
        </p:nvSpPr>
        <p:spPr bwMode="auto">
          <a:xfrm>
            <a:off x="6922480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464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/>
          <p:cNvSpPr/>
          <p:nvPr/>
        </p:nvSpPr>
        <p:spPr>
          <a:xfrm>
            <a:off x="6511146" y="1677979"/>
            <a:ext cx="1235854" cy="1235854"/>
          </a:xfrm>
          <a:prstGeom prst="ellipse">
            <a:avLst/>
          </a:prstGeom>
          <a:noFill/>
          <a:ln w="38100">
            <a:solidFill>
              <a:srgbClr val="227C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2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1813344" y="3591438"/>
            <a:ext cx="1435100" cy="143510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117850" y="3616838"/>
            <a:ext cx="2838450" cy="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5744773" y="2283338"/>
            <a:ext cx="1397000" cy="139700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>
          <a:xfrm>
            <a:off x="1347817" y="4416165"/>
            <a:ext cx="1026304" cy="1026298"/>
          </a:xfrm>
          <a:prstGeom prst="ellipse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2741642" y="3120956"/>
            <a:ext cx="1026304" cy="1026298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5233598" y="3120956"/>
            <a:ext cx="1026304" cy="1026298"/>
          </a:xfrm>
          <a:prstGeom prst="ellipse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6628621" y="1792376"/>
            <a:ext cx="1026304" cy="1026298"/>
          </a:xfrm>
          <a:prstGeom prst="ellipse">
            <a:avLst/>
          </a:prstGeom>
          <a:solidFill>
            <a:srgbClr val="227C13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Rectangle 33"/>
          <p:cNvSpPr>
            <a:spLocks/>
          </p:cNvSpPr>
          <p:nvPr/>
        </p:nvSpPr>
        <p:spPr bwMode="auto">
          <a:xfrm>
            <a:off x="6298002" y="3012980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3" name="Rectangle 2"/>
          <p:cNvSpPr/>
          <p:nvPr/>
        </p:nvSpPr>
        <p:spPr>
          <a:xfrm>
            <a:off x="5057648" y="4180907"/>
            <a:ext cx="13742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613489" y="4180907"/>
            <a:ext cx="13742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56644" y="5425847"/>
            <a:ext cx="13742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429157" y="3377184"/>
            <a:ext cx="681986" cy="513842"/>
            <a:chOff x="9074150" y="4032250"/>
            <a:chExt cx="920751" cy="693738"/>
          </a:xfrm>
          <a:solidFill>
            <a:schemeClr val="bg1"/>
          </a:solidFill>
          <a:effectLst/>
        </p:grpSpPr>
        <p:sp>
          <p:nvSpPr>
            <p:cNvPr id="24" name="Freeform 94"/>
            <p:cNvSpPr>
              <a:spLocks/>
            </p:cNvSpPr>
            <p:nvPr/>
          </p:nvSpPr>
          <p:spPr bwMode="auto">
            <a:xfrm>
              <a:off x="9332913" y="4032250"/>
              <a:ext cx="661988" cy="452438"/>
            </a:xfrm>
            <a:custGeom>
              <a:avLst/>
              <a:gdLst>
                <a:gd name="T0" fmla="*/ 0 w 836"/>
                <a:gd name="T1" fmla="*/ 146 h 569"/>
                <a:gd name="T2" fmla="*/ 551 w 836"/>
                <a:gd name="T3" fmla="*/ 146 h 569"/>
                <a:gd name="T4" fmla="*/ 551 w 836"/>
                <a:gd name="T5" fmla="*/ 0 h 569"/>
                <a:gd name="T6" fmla="*/ 836 w 836"/>
                <a:gd name="T7" fmla="*/ 285 h 569"/>
                <a:gd name="T8" fmla="*/ 551 w 836"/>
                <a:gd name="T9" fmla="*/ 569 h 569"/>
                <a:gd name="T10" fmla="*/ 551 w 836"/>
                <a:gd name="T11" fmla="*/ 423 h 569"/>
                <a:gd name="T12" fmla="*/ 0 w 836"/>
                <a:gd name="T13" fmla="*/ 423 h 569"/>
                <a:gd name="T14" fmla="*/ 0 w 836"/>
                <a:gd name="T15" fmla="*/ 146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6" h="569">
                  <a:moveTo>
                    <a:pt x="0" y="146"/>
                  </a:moveTo>
                  <a:lnTo>
                    <a:pt x="551" y="146"/>
                  </a:lnTo>
                  <a:lnTo>
                    <a:pt x="551" y="0"/>
                  </a:lnTo>
                  <a:lnTo>
                    <a:pt x="836" y="285"/>
                  </a:lnTo>
                  <a:lnTo>
                    <a:pt x="551" y="569"/>
                  </a:lnTo>
                  <a:lnTo>
                    <a:pt x="551" y="423"/>
                  </a:lnTo>
                  <a:lnTo>
                    <a:pt x="0" y="423"/>
                  </a:lnTo>
                  <a:lnTo>
                    <a:pt x="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5"/>
            <p:cNvSpPr>
              <a:spLocks/>
            </p:cNvSpPr>
            <p:nvPr/>
          </p:nvSpPr>
          <p:spPr bwMode="auto">
            <a:xfrm>
              <a:off x="9074150" y="4275138"/>
              <a:ext cx="663575" cy="450850"/>
            </a:xfrm>
            <a:custGeom>
              <a:avLst/>
              <a:gdLst>
                <a:gd name="T0" fmla="*/ 835 w 835"/>
                <a:gd name="T1" fmla="*/ 424 h 570"/>
                <a:gd name="T2" fmla="*/ 284 w 835"/>
                <a:gd name="T3" fmla="*/ 424 h 570"/>
                <a:gd name="T4" fmla="*/ 284 w 835"/>
                <a:gd name="T5" fmla="*/ 570 h 570"/>
                <a:gd name="T6" fmla="*/ 0 w 835"/>
                <a:gd name="T7" fmla="*/ 285 h 570"/>
                <a:gd name="T8" fmla="*/ 284 w 835"/>
                <a:gd name="T9" fmla="*/ 0 h 570"/>
                <a:gd name="T10" fmla="*/ 284 w 835"/>
                <a:gd name="T11" fmla="*/ 146 h 570"/>
                <a:gd name="T12" fmla="*/ 835 w 835"/>
                <a:gd name="T13" fmla="*/ 146 h 570"/>
                <a:gd name="T14" fmla="*/ 835 w 835"/>
                <a:gd name="T15" fmla="*/ 424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5" h="570">
                  <a:moveTo>
                    <a:pt x="835" y="424"/>
                  </a:moveTo>
                  <a:lnTo>
                    <a:pt x="284" y="424"/>
                  </a:lnTo>
                  <a:lnTo>
                    <a:pt x="284" y="570"/>
                  </a:lnTo>
                  <a:lnTo>
                    <a:pt x="0" y="285"/>
                  </a:lnTo>
                  <a:lnTo>
                    <a:pt x="284" y="0"/>
                  </a:lnTo>
                  <a:lnTo>
                    <a:pt x="284" y="146"/>
                  </a:lnTo>
                  <a:lnTo>
                    <a:pt x="835" y="146"/>
                  </a:lnTo>
                  <a:lnTo>
                    <a:pt x="835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 rot="1365204">
            <a:off x="1570802" y="4673161"/>
            <a:ext cx="618562" cy="474096"/>
            <a:chOff x="625475" y="2439988"/>
            <a:chExt cx="482600" cy="369888"/>
          </a:xfrm>
          <a:solidFill>
            <a:schemeClr val="bg1"/>
          </a:solidFill>
          <a:effectLst/>
        </p:grpSpPr>
        <p:sp>
          <p:nvSpPr>
            <p:cNvPr id="27" name="Freeform 168"/>
            <p:cNvSpPr>
              <a:spLocks noEditPoints="1"/>
            </p:cNvSpPr>
            <p:nvPr/>
          </p:nvSpPr>
          <p:spPr bwMode="auto">
            <a:xfrm>
              <a:off x="625475" y="2439988"/>
              <a:ext cx="482600" cy="369888"/>
            </a:xfrm>
            <a:custGeom>
              <a:avLst/>
              <a:gdLst>
                <a:gd name="T0" fmla="*/ 566 w 1519"/>
                <a:gd name="T1" fmla="*/ 10 h 1165"/>
                <a:gd name="T2" fmla="*/ 675 w 1519"/>
                <a:gd name="T3" fmla="*/ 46 h 1165"/>
                <a:gd name="T4" fmla="*/ 770 w 1519"/>
                <a:gd name="T5" fmla="*/ 107 h 1165"/>
                <a:gd name="T6" fmla="*/ 848 w 1519"/>
                <a:gd name="T7" fmla="*/ 189 h 1165"/>
                <a:gd name="T8" fmla="*/ 904 w 1519"/>
                <a:gd name="T9" fmla="*/ 288 h 1165"/>
                <a:gd name="T10" fmla="*/ 936 w 1519"/>
                <a:gd name="T11" fmla="*/ 399 h 1165"/>
                <a:gd name="T12" fmla="*/ 938 w 1519"/>
                <a:gd name="T13" fmla="*/ 520 h 1165"/>
                <a:gd name="T14" fmla="*/ 912 w 1519"/>
                <a:gd name="T15" fmla="*/ 635 h 1165"/>
                <a:gd name="T16" fmla="*/ 1503 w 1519"/>
                <a:gd name="T17" fmla="*/ 1047 h 1165"/>
                <a:gd name="T18" fmla="*/ 1518 w 1519"/>
                <a:gd name="T19" fmla="*/ 1078 h 1165"/>
                <a:gd name="T20" fmla="*/ 1517 w 1519"/>
                <a:gd name="T21" fmla="*/ 1113 h 1165"/>
                <a:gd name="T22" fmla="*/ 1498 w 1519"/>
                <a:gd name="T23" fmla="*/ 1143 h 1165"/>
                <a:gd name="T24" fmla="*/ 1469 w 1519"/>
                <a:gd name="T25" fmla="*/ 1161 h 1165"/>
                <a:gd name="T26" fmla="*/ 1435 w 1519"/>
                <a:gd name="T27" fmla="*/ 1163 h 1165"/>
                <a:gd name="T28" fmla="*/ 828 w 1519"/>
                <a:gd name="T29" fmla="*/ 778 h 1165"/>
                <a:gd name="T30" fmla="*/ 735 w 1519"/>
                <a:gd name="T31" fmla="*/ 860 h 1165"/>
                <a:gd name="T32" fmla="*/ 623 w 1519"/>
                <a:gd name="T33" fmla="*/ 916 h 1165"/>
                <a:gd name="T34" fmla="*/ 497 w 1519"/>
                <a:gd name="T35" fmla="*/ 941 h 1165"/>
                <a:gd name="T36" fmla="*/ 376 w 1519"/>
                <a:gd name="T37" fmla="*/ 932 h 1165"/>
                <a:gd name="T38" fmla="*/ 266 w 1519"/>
                <a:gd name="T39" fmla="*/ 895 h 1165"/>
                <a:gd name="T40" fmla="*/ 172 w 1519"/>
                <a:gd name="T41" fmla="*/ 834 h 1165"/>
                <a:gd name="T42" fmla="*/ 94 w 1519"/>
                <a:gd name="T43" fmla="*/ 752 h 1165"/>
                <a:gd name="T44" fmla="*/ 37 w 1519"/>
                <a:gd name="T45" fmla="*/ 654 h 1165"/>
                <a:gd name="T46" fmla="*/ 6 w 1519"/>
                <a:gd name="T47" fmla="*/ 542 h 1165"/>
                <a:gd name="T48" fmla="*/ 3 w 1519"/>
                <a:gd name="T49" fmla="*/ 423 h 1165"/>
                <a:gd name="T50" fmla="*/ 29 w 1519"/>
                <a:gd name="T51" fmla="*/ 308 h 1165"/>
                <a:gd name="T52" fmla="*/ 81 w 1519"/>
                <a:gd name="T53" fmla="*/ 208 h 1165"/>
                <a:gd name="T54" fmla="*/ 155 w 1519"/>
                <a:gd name="T55" fmla="*/ 122 h 1165"/>
                <a:gd name="T56" fmla="*/ 246 w 1519"/>
                <a:gd name="T57" fmla="*/ 57 h 1165"/>
                <a:gd name="T58" fmla="*/ 353 w 1519"/>
                <a:gd name="T59" fmla="*/ 15 h 1165"/>
                <a:gd name="T60" fmla="*/ 471 w 1519"/>
                <a:gd name="T61" fmla="*/ 0 h 1165"/>
                <a:gd name="T62" fmla="*/ 543 w 1519"/>
                <a:gd name="T63" fmla="*/ 119 h 1165"/>
                <a:gd name="T64" fmla="*/ 627 w 1519"/>
                <a:gd name="T65" fmla="*/ 147 h 1165"/>
                <a:gd name="T66" fmla="*/ 699 w 1519"/>
                <a:gd name="T67" fmla="*/ 194 h 1165"/>
                <a:gd name="T68" fmla="*/ 759 w 1519"/>
                <a:gd name="T69" fmla="*/ 256 h 1165"/>
                <a:gd name="T70" fmla="*/ 802 w 1519"/>
                <a:gd name="T71" fmla="*/ 331 h 1165"/>
                <a:gd name="T72" fmla="*/ 825 w 1519"/>
                <a:gd name="T73" fmla="*/ 416 h 1165"/>
                <a:gd name="T74" fmla="*/ 828 w 1519"/>
                <a:gd name="T75" fmla="*/ 507 h 1165"/>
                <a:gd name="T76" fmla="*/ 807 w 1519"/>
                <a:gd name="T77" fmla="*/ 594 h 1165"/>
                <a:gd name="T78" fmla="*/ 768 w 1519"/>
                <a:gd name="T79" fmla="*/ 671 h 1165"/>
                <a:gd name="T80" fmla="*/ 713 w 1519"/>
                <a:gd name="T81" fmla="*/ 736 h 1165"/>
                <a:gd name="T82" fmla="*/ 641 w 1519"/>
                <a:gd name="T83" fmla="*/ 786 h 1165"/>
                <a:gd name="T84" fmla="*/ 560 w 1519"/>
                <a:gd name="T85" fmla="*/ 818 h 1165"/>
                <a:gd name="T86" fmla="*/ 471 w 1519"/>
                <a:gd name="T87" fmla="*/ 829 h 1165"/>
                <a:gd name="T88" fmla="*/ 382 w 1519"/>
                <a:gd name="T89" fmla="*/ 818 h 1165"/>
                <a:gd name="T90" fmla="*/ 300 w 1519"/>
                <a:gd name="T91" fmla="*/ 786 h 1165"/>
                <a:gd name="T92" fmla="*/ 229 w 1519"/>
                <a:gd name="T93" fmla="*/ 736 h 1165"/>
                <a:gd name="T94" fmla="*/ 174 w 1519"/>
                <a:gd name="T95" fmla="*/ 671 h 1165"/>
                <a:gd name="T96" fmla="*/ 134 w 1519"/>
                <a:gd name="T97" fmla="*/ 594 h 1165"/>
                <a:gd name="T98" fmla="*/ 114 w 1519"/>
                <a:gd name="T99" fmla="*/ 507 h 1165"/>
                <a:gd name="T100" fmla="*/ 116 w 1519"/>
                <a:gd name="T101" fmla="*/ 416 h 1165"/>
                <a:gd name="T102" fmla="*/ 140 w 1519"/>
                <a:gd name="T103" fmla="*/ 331 h 1165"/>
                <a:gd name="T104" fmla="*/ 183 w 1519"/>
                <a:gd name="T105" fmla="*/ 256 h 1165"/>
                <a:gd name="T106" fmla="*/ 243 w 1519"/>
                <a:gd name="T107" fmla="*/ 194 h 1165"/>
                <a:gd name="T108" fmla="*/ 315 w 1519"/>
                <a:gd name="T109" fmla="*/ 147 h 1165"/>
                <a:gd name="T110" fmla="*/ 399 w 1519"/>
                <a:gd name="T111" fmla="*/ 119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19" h="1165">
                  <a:moveTo>
                    <a:pt x="471" y="0"/>
                  </a:moveTo>
                  <a:lnTo>
                    <a:pt x="495" y="1"/>
                  </a:lnTo>
                  <a:lnTo>
                    <a:pt x="519" y="2"/>
                  </a:lnTo>
                  <a:lnTo>
                    <a:pt x="542" y="6"/>
                  </a:lnTo>
                  <a:lnTo>
                    <a:pt x="566" y="10"/>
                  </a:lnTo>
                  <a:lnTo>
                    <a:pt x="588" y="15"/>
                  </a:lnTo>
                  <a:lnTo>
                    <a:pt x="611" y="22"/>
                  </a:lnTo>
                  <a:lnTo>
                    <a:pt x="632" y="28"/>
                  </a:lnTo>
                  <a:lnTo>
                    <a:pt x="654" y="37"/>
                  </a:lnTo>
                  <a:lnTo>
                    <a:pt x="675" y="46"/>
                  </a:lnTo>
                  <a:lnTo>
                    <a:pt x="696" y="57"/>
                  </a:lnTo>
                  <a:lnTo>
                    <a:pt x="715" y="68"/>
                  </a:lnTo>
                  <a:lnTo>
                    <a:pt x="734" y="80"/>
                  </a:lnTo>
                  <a:lnTo>
                    <a:pt x="752" y="94"/>
                  </a:lnTo>
                  <a:lnTo>
                    <a:pt x="770" y="107"/>
                  </a:lnTo>
                  <a:lnTo>
                    <a:pt x="787" y="122"/>
                  </a:lnTo>
                  <a:lnTo>
                    <a:pt x="804" y="138"/>
                  </a:lnTo>
                  <a:lnTo>
                    <a:pt x="819" y="155"/>
                  </a:lnTo>
                  <a:lnTo>
                    <a:pt x="833" y="172"/>
                  </a:lnTo>
                  <a:lnTo>
                    <a:pt x="848" y="189"/>
                  </a:lnTo>
                  <a:lnTo>
                    <a:pt x="860" y="208"/>
                  </a:lnTo>
                  <a:lnTo>
                    <a:pt x="873" y="227"/>
                  </a:lnTo>
                  <a:lnTo>
                    <a:pt x="884" y="246"/>
                  </a:lnTo>
                  <a:lnTo>
                    <a:pt x="895" y="267"/>
                  </a:lnTo>
                  <a:lnTo>
                    <a:pt x="904" y="288"/>
                  </a:lnTo>
                  <a:lnTo>
                    <a:pt x="912" y="308"/>
                  </a:lnTo>
                  <a:lnTo>
                    <a:pt x="920" y="331"/>
                  </a:lnTo>
                  <a:lnTo>
                    <a:pt x="926" y="354"/>
                  </a:lnTo>
                  <a:lnTo>
                    <a:pt x="932" y="376"/>
                  </a:lnTo>
                  <a:lnTo>
                    <a:pt x="936" y="399"/>
                  </a:lnTo>
                  <a:lnTo>
                    <a:pt x="938" y="423"/>
                  </a:lnTo>
                  <a:lnTo>
                    <a:pt x="941" y="446"/>
                  </a:lnTo>
                  <a:lnTo>
                    <a:pt x="942" y="471"/>
                  </a:lnTo>
                  <a:lnTo>
                    <a:pt x="941" y="495"/>
                  </a:lnTo>
                  <a:lnTo>
                    <a:pt x="938" y="520"/>
                  </a:lnTo>
                  <a:lnTo>
                    <a:pt x="936" y="543"/>
                  </a:lnTo>
                  <a:lnTo>
                    <a:pt x="932" y="567"/>
                  </a:lnTo>
                  <a:lnTo>
                    <a:pt x="926" y="590"/>
                  </a:lnTo>
                  <a:lnTo>
                    <a:pt x="919" y="612"/>
                  </a:lnTo>
                  <a:lnTo>
                    <a:pt x="912" y="635"/>
                  </a:lnTo>
                  <a:lnTo>
                    <a:pt x="903" y="656"/>
                  </a:lnTo>
                  <a:lnTo>
                    <a:pt x="1486" y="1032"/>
                  </a:lnTo>
                  <a:lnTo>
                    <a:pt x="1492" y="1037"/>
                  </a:lnTo>
                  <a:lnTo>
                    <a:pt x="1497" y="1041"/>
                  </a:lnTo>
                  <a:lnTo>
                    <a:pt x="1503" y="1047"/>
                  </a:lnTo>
                  <a:lnTo>
                    <a:pt x="1506" y="1053"/>
                  </a:lnTo>
                  <a:lnTo>
                    <a:pt x="1511" y="1058"/>
                  </a:lnTo>
                  <a:lnTo>
                    <a:pt x="1513" y="1065"/>
                  </a:lnTo>
                  <a:lnTo>
                    <a:pt x="1515" y="1071"/>
                  </a:lnTo>
                  <a:lnTo>
                    <a:pt x="1518" y="1078"/>
                  </a:lnTo>
                  <a:lnTo>
                    <a:pt x="1519" y="1084"/>
                  </a:lnTo>
                  <a:lnTo>
                    <a:pt x="1519" y="1091"/>
                  </a:lnTo>
                  <a:lnTo>
                    <a:pt x="1519" y="1098"/>
                  </a:lnTo>
                  <a:lnTo>
                    <a:pt x="1518" y="1105"/>
                  </a:lnTo>
                  <a:lnTo>
                    <a:pt x="1517" y="1113"/>
                  </a:lnTo>
                  <a:lnTo>
                    <a:pt x="1514" y="1118"/>
                  </a:lnTo>
                  <a:lnTo>
                    <a:pt x="1512" y="1125"/>
                  </a:lnTo>
                  <a:lnTo>
                    <a:pt x="1507" y="1132"/>
                  </a:lnTo>
                  <a:lnTo>
                    <a:pt x="1504" y="1137"/>
                  </a:lnTo>
                  <a:lnTo>
                    <a:pt x="1498" y="1143"/>
                  </a:lnTo>
                  <a:lnTo>
                    <a:pt x="1494" y="1148"/>
                  </a:lnTo>
                  <a:lnTo>
                    <a:pt x="1488" y="1152"/>
                  </a:lnTo>
                  <a:lnTo>
                    <a:pt x="1483" y="1155"/>
                  </a:lnTo>
                  <a:lnTo>
                    <a:pt x="1476" y="1159"/>
                  </a:lnTo>
                  <a:lnTo>
                    <a:pt x="1469" y="1161"/>
                  </a:lnTo>
                  <a:lnTo>
                    <a:pt x="1462" y="1163"/>
                  </a:lnTo>
                  <a:lnTo>
                    <a:pt x="1456" y="1165"/>
                  </a:lnTo>
                  <a:lnTo>
                    <a:pt x="1449" y="1165"/>
                  </a:lnTo>
                  <a:lnTo>
                    <a:pt x="1442" y="1165"/>
                  </a:lnTo>
                  <a:lnTo>
                    <a:pt x="1435" y="1163"/>
                  </a:lnTo>
                  <a:lnTo>
                    <a:pt x="1428" y="1162"/>
                  </a:lnTo>
                  <a:lnTo>
                    <a:pt x="1422" y="1160"/>
                  </a:lnTo>
                  <a:lnTo>
                    <a:pt x="1415" y="1157"/>
                  </a:lnTo>
                  <a:lnTo>
                    <a:pt x="1409" y="1153"/>
                  </a:lnTo>
                  <a:lnTo>
                    <a:pt x="828" y="778"/>
                  </a:lnTo>
                  <a:lnTo>
                    <a:pt x="811" y="796"/>
                  </a:lnTo>
                  <a:lnTo>
                    <a:pt x="793" y="813"/>
                  </a:lnTo>
                  <a:lnTo>
                    <a:pt x="775" y="830"/>
                  </a:lnTo>
                  <a:lnTo>
                    <a:pt x="755" y="846"/>
                  </a:lnTo>
                  <a:lnTo>
                    <a:pt x="735" y="860"/>
                  </a:lnTo>
                  <a:lnTo>
                    <a:pt x="714" y="873"/>
                  </a:lnTo>
                  <a:lnTo>
                    <a:pt x="692" y="886"/>
                  </a:lnTo>
                  <a:lnTo>
                    <a:pt x="670" y="897"/>
                  </a:lnTo>
                  <a:lnTo>
                    <a:pt x="647" y="907"/>
                  </a:lnTo>
                  <a:lnTo>
                    <a:pt x="623" y="916"/>
                  </a:lnTo>
                  <a:lnTo>
                    <a:pt x="600" y="924"/>
                  </a:lnTo>
                  <a:lnTo>
                    <a:pt x="575" y="930"/>
                  </a:lnTo>
                  <a:lnTo>
                    <a:pt x="549" y="935"/>
                  </a:lnTo>
                  <a:lnTo>
                    <a:pt x="524" y="939"/>
                  </a:lnTo>
                  <a:lnTo>
                    <a:pt x="497" y="941"/>
                  </a:lnTo>
                  <a:lnTo>
                    <a:pt x="471" y="941"/>
                  </a:lnTo>
                  <a:lnTo>
                    <a:pt x="447" y="941"/>
                  </a:lnTo>
                  <a:lnTo>
                    <a:pt x="422" y="939"/>
                  </a:lnTo>
                  <a:lnTo>
                    <a:pt x="400" y="935"/>
                  </a:lnTo>
                  <a:lnTo>
                    <a:pt x="376" y="932"/>
                  </a:lnTo>
                  <a:lnTo>
                    <a:pt x="353" y="926"/>
                  </a:lnTo>
                  <a:lnTo>
                    <a:pt x="331" y="921"/>
                  </a:lnTo>
                  <a:lnTo>
                    <a:pt x="309" y="913"/>
                  </a:lnTo>
                  <a:lnTo>
                    <a:pt x="288" y="905"/>
                  </a:lnTo>
                  <a:lnTo>
                    <a:pt x="266" y="895"/>
                  </a:lnTo>
                  <a:lnTo>
                    <a:pt x="246" y="884"/>
                  </a:lnTo>
                  <a:lnTo>
                    <a:pt x="227" y="873"/>
                  </a:lnTo>
                  <a:lnTo>
                    <a:pt x="208" y="861"/>
                  </a:lnTo>
                  <a:lnTo>
                    <a:pt x="190" y="848"/>
                  </a:lnTo>
                  <a:lnTo>
                    <a:pt x="172" y="834"/>
                  </a:lnTo>
                  <a:lnTo>
                    <a:pt x="155" y="819"/>
                  </a:lnTo>
                  <a:lnTo>
                    <a:pt x="138" y="803"/>
                  </a:lnTo>
                  <a:lnTo>
                    <a:pt x="123" y="787"/>
                  </a:lnTo>
                  <a:lnTo>
                    <a:pt x="108" y="770"/>
                  </a:lnTo>
                  <a:lnTo>
                    <a:pt x="94" y="752"/>
                  </a:lnTo>
                  <a:lnTo>
                    <a:pt x="81" y="734"/>
                  </a:lnTo>
                  <a:lnTo>
                    <a:pt x="69" y="715"/>
                  </a:lnTo>
                  <a:lnTo>
                    <a:pt x="58" y="695"/>
                  </a:lnTo>
                  <a:lnTo>
                    <a:pt x="46" y="674"/>
                  </a:lnTo>
                  <a:lnTo>
                    <a:pt x="37" y="654"/>
                  </a:lnTo>
                  <a:lnTo>
                    <a:pt x="29" y="633"/>
                  </a:lnTo>
                  <a:lnTo>
                    <a:pt x="21" y="611"/>
                  </a:lnTo>
                  <a:lnTo>
                    <a:pt x="16" y="589"/>
                  </a:lnTo>
                  <a:lnTo>
                    <a:pt x="10" y="566"/>
                  </a:lnTo>
                  <a:lnTo>
                    <a:pt x="6" y="542"/>
                  </a:lnTo>
                  <a:lnTo>
                    <a:pt x="3" y="519"/>
                  </a:lnTo>
                  <a:lnTo>
                    <a:pt x="1" y="495"/>
                  </a:lnTo>
                  <a:lnTo>
                    <a:pt x="0" y="471"/>
                  </a:lnTo>
                  <a:lnTo>
                    <a:pt x="1" y="446"/>
                  </a:lnTo>
                  <a:lnTo>
                    <a:pt x="3" y="423"/>
                  </a:lnTo>
                  <a:lnTo>
                    <a:pt x="6" y="399"/>
                  </a:lnTo>
                  <a:lnTo>
                    <a:pt x="10" y="376"/>
                  </a:lnTo>
                  <a:lnTo>
                    <a:pt x="16" y="354"/>
                  </a:lnTo>
                  <a:lnTo>
                    <a:pt x="21" y="331"/>
                  </a:lnTo>
                  <a:lnTo>
                    <a:pt x="29" y="308"/>
                  </a:lnTo>
                  <a:lnTo>
                    <a:pt x="37" y="288"/>
                  </a:lnTo>
                  <a:lnTo>
                    <a:pt x="46" y="267"/>
                  </a:lnTo>
                  <a:lnTo>
                    <a:pt x="58" y="246"/>
                  </a:lnTo>
                  <a:lnTo>
                    <a:pt x="69" y="227"/>
                  </a:lnTo>
                  <a:lnTo>
                    <a:pt x="81" y="208"/>
                  </a:lnTo>
                  <a:lnTo>
                    <a:pt x="94" y="189"/>
                  </a:lnTo>
                  <a:lnTo>
                    <a:pt x="108" y="172"/>
                  </a:lnTo>
                  <a:lnTo>
                    <a:pt x="123" y="155"/>
                  </a:lnTo>
                  <a:lnTo>
                    <a:pt x="138" y="138"/>
                  </a:lnTo>
                  <a:lnTo>
                    <a:pt x="155" y="122"/>
                  </a:lnTo>
                  <a:lnTo>
                    <a:pt x="172" y="107"/>
                  </a:lnTo>
                  <a:lnTo>
                    <a:pt x="190" y="94"/>
                  </a:lnTo>
                  <a:lnTo>
                    <a:pt x="208" y="80"/>
                  </a:lnTo>
                  <a:lnTo>
                    <a:pt x="227" y="68"/>
                  </a:lnTo>
                  <a:lnTo>
                    <a:pt x="246" y="57"/>
                  </a:lnTo>
                  <a:lnTo>
                    <a:pt x="266" y="46"/>
                  </a:lnTo>
                  <a:lnTo>
                    <a:pt x="288" y="37"/>
                  </a:lnTo>
                  <a:lnTo>
                    <a:pt x="309" y="28"/>
                  </a:lnTo>
                  <a:lnTo>
                    <a:pt x="331" y="22"/>
                  </a:lnTo>
                  <a:lnTo>
                    <a:pt x="353" y="15"/>
                  </a:lnTo>
                  <a:lnTo>
                    <a:pt x="376" y="10"/>
                  </a:lnTo>
                  <a:lnTo>
                    <a:pt x="400" y="6"/>
                  </a:lnTo>
                  <a:lnTo>
                    <a:pt x="422" y="2"/>
                  </a:lnTo>
                  <a:lnTo>
                    <a:pt x="447" y="1"/>
                  </a:lnTo>
                  <a:lnTo>
                    <a:pt x="471" y="0"/>
                  </a:lnTo>
                  <a:close/>
                  <a:moveTo>
                    <a:pt x="471" y="112"/>
                  </a:moveTo>
                  <a:lnTo>
                    <a:pt x="489" y="112"/>
                  </a:lnTo>
                  <a:lnTo>
                    <a:pt x="507" y="114"/>
                  </a:lnTo>
                  <a:lnTo>
                    <a:pt x="525" y="116"/>
                  </a:lnTo>
                  <a:lnTo>
                    <a:pt x="543" y="119"/>
                  </a:lnTo>
                  <a:lnTo>
                    <a:pt x="560" y="123"/>
                  </a:lnTo>
                  <a:lnTo>
                    <a:pt x="577" y="128"/>
                  </a:lnTo>
                  <a:lnTo>
                    <a:pt x="594" y="133"/>
                  </a:lnTo>
                  <a:lnTo>
                    <a:pt x="611" y="140"/>
                  </a:lnTo>
                  <a:lnTo>
                    <a:pt x="627" y="147"/>
                  </a:lnTo>
                  <a:lnTo>
                    <a:pt x="641" y="155"/>
                  </a:lnTo>
                  <a:lnTo>
                    <a:pt x="657" y="164"/>
                  </a:lnTo>
                  <a:lnTo>
                    <a:pt x="672" y="173"/>
                  </a:lnTo>
                  <a:lnTo>
                    <a:pt x="685" y="183"/>
                  </a:lnTo>
                  <a:lnTo>
                    <a:pt x="699" y="194"/>
                  </a:lnTo>
                  <a:lnTo>
                    <a:pt x="713" y="206"/>
                  </a:lnTo>
                  <a:lnTo>
                    <a:pt x="725" y="217"/>
                  </a:lnTo>
                  <a:lnTo>
                    <a:pt x="736" y="229"/>
                  </a:lnTo>
                  <a:lnTo>
                    <a:pt x="748" y="243"/>
                  </a:lnTo>
                  <a:lnTo>
                    <a:pt x="759" y="256"/>
                  </a:lnTo>
                  <a:lnTo>
                    <a:pt x="768" y="270"/>
                  </a:lnTo>
                  <a:lnTo>
                    <a:pt x="778" y="285"/>
                  </a:lnTo>
                  <a:lnTo>
                    <a:pt x="786" y="299"/>
                  </a:lnTo>
                  <a:lnTo>
                    <a:pt x="794" y="315"/>
                  </a:lnTo>
                  <a:lnTo>
                    <a:pt x="802" y="331"/>
                  </a:lnTo>
                  <a:lnTo>
                    <a:pt x="807" y="347"/>
                  </a:lnTo>
                  <a:lnTo>
                    <a:pt x="813" y="364"/>
                  </a:lnTo>
                  <a:lnTo>
                    <a:pt x="819" y="381"/>
                  </a:lnTo>
                  <a:lnTo>
                    <a:pt x="822" y="399"/>
                  </a:lnTo>
                  <a:lnTo>
                    <a:pt x="825" y="416"/>
                  </a:lnTo>
                  <a:lnTo>
                    <a:pt x="828" y="434"/>
                  </a:lnTo>
                  <a:lnTo>
                    <a:pt x="829" y="452"/>
                  </a:lnTo>
                  <a:lnTo>
                    <a:pt x="830" y="471"/>
                  </a:lnTo>
                  <a:lnTo>
                    <a:pt x="829" y="489"/>
                  </a:lnTo>
                  <a:lnTo>
                    <a:pt x="828" y="507"/>
                  </a:lnTo>
                  <a:lnTo>
                    <a:pt x="825" y="525"/>
                  </a:lnTo>
                  <a:lnTo>
                    <a:pt x="822" y="543"/>
                  </a:lnTo>
                  <a:lnTo>
                    <a:pt x="819" y="560"/>
                  </a:lnTo>
                  <a:lnTo>
                    <a:pt x="813" y="577"/>
                  </a:lnTo>
                  <a:lnTo>
                    <a:pt x="807" y="594"/>
                  </a:lnTo>
                  <a:lnTo>
                    <a:pt x="802" y="610"/>
                  </a:lnTo>
                  <a:lnTo>
                    <a:pt x="794" y="626"/>
                  </a:lnTo>
                  <a:lnTo>
                    <a:pt x="786" y="642"/>
                  </a:lnTo>
                  <a:lnTo>
                    <a:pt x="778" y="656"/>
                  </a:lnTo>
                  <a:lnTo>
                    <a:pt x="768" y="671"/>
                  </a:lnTo>
                  <a:lnTo>
                    <a:pt x="759" y="686"/>
                  </a:lnTo>
                  <a:lnTo>
                    <a:pt x="748" y="699"/>
                  </a:lnTo>
                  <a:lnTo>
                    <a:pt x="736" y="712"/>
                  </a:lnTo>
                  <a:lnTo>
                    <a:pt x="725" y="724"/>
                  </a:lnTo>
                  <a:lnTo>
                    <a:pt x="713" y="736"/>
                  </a:lnTo>
                  <a:lnTo>
                    <a:pt x="699" y="748"/>
                  </a:lnTo>
                  <a:lnTo>
                    <a:pt x="685" y="758"/>
                  </a:lnTo>
                  <a:lnTo>
                    <a:pt x="672" y="768"/>
                  </a:lnTo>
                  <a:lnTo>
                    <a:pt x="657" y="777"/>
                  </a:lnTo>
                  <a:lnTo>
                    <a:pt x="641" y="786"/>
                  </a:lnTo>
                  <a:lnTo>
                    <a:pt x="627" y="794"/>
                  </a:lnTo>
                  <a:lnTo>
                    <a:pt x="611" y="801"/>
                  </a:lnTo>
                  <a:lnTo>
                    <a:pt x="594" y="808"/>
                  </a:lnTo>
                  <a:lnTo>
                    <a:pt x="577" y="813"/>
                  </a:lnTo>
                  <a:lnTo>
                    <a:pt x="560" y="818"/>
                  </a:lnTo>
                  <a:lnTo>
                    <a:pt x="543" y="822"/>
                  </a:lnTo>
                  <a:lnTo>
                    <a:pt x="525" y="826"/>
                  </a:lnTo>
                  <a:lnTo>
                    <a:pt x="507" y="828"/>
                  </a:lnTo>
                  <a:lnTo>
                    <a:pt x="489" y="829"/>
                  </a:lnTo>
                  <a:lnTo>
                    <a:pt x="471" y="829"/>
                  </a:lnTo>
                  <a:lnTo>
                    <a:pt x="453" y="829"/>
                  </a:lnTo>
                  <a:lnTo>
                    <a:pt x="434" y="828"/>
                  </a:lnTo>
                  <a:lnTo>
                    <a:pt x="417" y="826"/>
                  </a:lnTo>
                  <a:lnTo>
                    <a:pt x="399" y="822"/>
                  </a:lnTo>
                  <a:lnTo>
                    <a:pt x="382" y="818"/>
                  </a:lnTo>
                  <a:lnTo>
                    <a:pt x="365" y="813"/>
                  </a:lnTo>
                  <a:lnTo>
                    <a:pt x="348" y="808"/>
                  </a:lnTo>
                  <a:lnTo>
                    <a:pt x="331" y="801"/>
                  </a:lnTo>
                  <a:lnTo>
                    <a:pt x="315" y="794"/>
                  </a:lnTo>
                  <a:lnTo>
                    <a:pt x="300" y="786"/>
                  </a:lnTo>
                  <a:lnTo>
                    <a:pt x="285" y="777"/>
                  </a:lnTo>
                  <a:lnTo>
                    <a:pt x="270" y="768"/>
                  </a:lnTo>
                  <a:lnTo>
                    <a:pt x="256" y="758"/>
                  </a:lnTo>
                  <a:lnTo>
                    <a:pt x="243" y="748"/>
                  </a:lnTo>
                  <a:lnTo>
                    <a:pt x="229" y="736"/>
                  </a:lnTo>
                  <a:lnTo>
                    <a:pt x="217" y="724"/>
                  </a:lnTo>
                  <a:lnTo>
                    <a:pt x="206" y="712"/>
                  </a:lnTo>
                  <a:lnTo>
                    <a:pt x="194" y="699"/>
                  </a:lnTo>
                  <a:lnTo>
                    <a:pt x="183" y="686"/>
                  </a:lnTo>
                  <a:lnTo>
                    <a:pt x="174" y="671"/>
                  </a:lnTo>
                  <a:lnTo>
                    <a:pt x="164" y="656"/>
                  </a:lnTo>
                  <a:lnTo>
                    <a:pt x="156" y="642"/>
                  </a:lnTo>
                  <a:lnTo>
                    <a:pt x="148" y="626"/>
                  </a:lnTo>
                  <a:lnTo>
                    <a:pt x="140" y="610"/>
                  </a:lnTo>
                  <a:lnTo>
                    <a:pt x="134" y="594"/>
                  </a:lnTo>
                  <a:lnTo>
                    <a:pt x="129" y="577"/>
                  </a:lnTo>
                  <a:lnTo>
                    <a:pt x="123" y="560"/>
                  </a:lnTo>
                  <a:lnTo>
                    <a:pt x="120" y="543"/>
                  </a:lnTo>
                  <a:lnTo>
                    <a:pt x="116" y="525"/>
                  </a:lnTo>
                  <a:lnTo>
                    <a:pt x="114" y="507"/>
                  </a:lnTo>
                  <a:lnTo>
                    <a:pt x="113" y="489"/>
                  </a:lnTo>
                  <a:lnTo>
                    <a:pt x="112" y="471"/>
                  </a:lnTo>
                  <a:lnTo>
                    <a:pt x="113" y="452"/>
                  </a:lnTo>
                  <a:lnTo>
                    <a:pt x="114" y="434"/>
                  </a:lnTo>
                  <a:lnTo>
                    <a:pt x="116" y="416"/>
                  </a:lnTo>
                  <a:lnTo>
                    <a:pt x="120" y="399"/>
                  </a:lnTo>
                  <a:lnTo>
                    <a:pt x="123" y="381"/>
                  </a:lnTo>
                  <a:lnTo>
                    <a:pt x="129" y="364"/>
                  </a:lnTo>
                  <a:lnTo>
                    <a:pt x="134" y="347"/>
                  </a:lnTo>
                  <a:lnTo>
                    <a:pt x="140" y="331"/>
                  </a:lnTo>
                  <a:lnTo>
                    <a:pt x="148" y="315"/>
                  </a:lnTo>
                  <a:lnTo>
                    <a:pt x="156" y="299"/>
                  </a:lnTo>
                  <a:lnTo>
                    <a:pt x="164" y="285"/>
                  </a:lnTo>
                  <a:lnTo>
                    <a:pt x="174" y="270"/>
                  </a:lnTo>
                  <a:lnTo>
                    <a:pt x="183" y="256"/>
                  </a:lnTo>
                  <a:lnTo>
                    <a:pt x="194" y="243"/>
                  </a:lnTo>
                  <a:lnTo>
                    <a:pt x="206" y="229"/>
                  </a:lnTo>
                  <a:lnTo>
                    <a:pt x="217" y="217"/>
                  </a:lnTo>
                  <a:lnTo>
                    <a:pt x="229" y="206"/>
                  </a:lnTo>
                  <a:lnTo>
                    <a:pt x="243" y="194"/>
                  </a:lnTo>
                  <a:lnTo>
                    <a:pt x="256" y="183"/>
                  </a:lnTo>
                  <a:lnTo>
                    <a:pt x="270" y="173"/>
                  </a:lnTo>
                  <a:lnTo>
                    <a:pt x="285" y="164"/>
                  </a:lnTo>
                  <a:lnTo>
                    <a:pt x="300" y="155"/>
                  </a:lnTo>
                  <a:lnTo>
                    <a:pt x="315" y="147"/>
                  </a:lnTo>
                  <a:lnTo>
                    <a:pt x="331" y="140"/>
                  </a:lnTo>
                  <a:lnTo>
                    <a:pt x="348" y="133"/>
                  </a:lnTo>
                  <a:lnTo>
                    <a:pt x="365" y="128"/>
                  </a:lnTo>
                  <a:lnTo>
                    <a:pt x="382" y="123"/>
                  </a:lnTo>
                  <a:lnTo>
                    <a:pt x="399" y="119"/>
                  </a:lnTo>
                  <a:lnTo>
                    <a:pt x="417" y="116"/>
                  </a:lnTo>
                  <a:lnTo>
                    <a:pt x="434" y="114"/>
                  </a:lnTo>
                  <a:lnTo>
                    <a:pt x="453" y="112"/>
                  </a:lnTo>
                  <a:lnTo>
                    <a:pt x="471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71"/>
            <p:cNvSpPr>
              <a:spLocks/>
            </p:cNvSpPr>
            <p:nvPr/>
          </p:nvSpPr>
          <p:spPr bwMode="auto">
            <a:xfrm>
              <a:off x="677863" y="2493963"/>
              <a:ext cx="93663" cy="138113"/>
            </a:xfrm>
            <a:custGeom>
              <a:avLst/>
              <a:gdLst>
                <a:gd name="T0" fmla="*/ 279 w 294"/>
                <a:gd name="T1" fmla="*/ 0 h 433"/>
                <a:gd name="T2" fmla="*/ 287 w 294"/>
                <a:gd name="T3" fmla="*/ 22 h 433"/>
                <a:gd name="T4" fmla="*/ 294 w 294"/>
                <a:gd name="T5" fmla="*/ 44 h 433"/>
                <a:gd name="T6" fmla="*/ 279 w 294"/>
                <a:gd name="T7" fmla="*/ 44 h 433"/>
                <a:gd name="T8" fmla="*/ 255 w 294"/>
                <a:gd name="T9" fmla="*/ 46 h 433"/>
                <a:gd name="T10" fmla="*/ 232 w 294"/>
                <a:gd name="T11" fmla="*/ 49 h 433"/>
                <a:gd name="T12" fmla="*/ 209 w 294"/>
                <a:gd name="T13" fmla="*/ 55 h 433"/>
                <a:gd name="T14" fmla="*/ 188 w 294"/>
                <a:gd name="T15" fmla="*/ 63 h 433"/>
                <a:gd name="T16" fmla="*/ 147 w 294"/>
                <a:gd name="T17" fmla="*/ 85 h 433"/>
                <a:gd name="T18" fmla="*/ 113 w 294"/>
                <a:gd name="T19" fmla="*/ 113 h 433"/>
                <a:gd name="T20" fmla="*/ 84 w 294"/>
                <a:gd name="T21" fmla="*/ 148 h 433"/>
                <a:gd name="T22" fmla="*/ 62 w 294"/>
                <a:gd name="T23" fmla="*/ 188 h 433"/>
                <a:gd name="T24" fmla="*/ 54 w 294"/>
                <a:gd name="T25" fmla="*/ 209 h 433"/>
                <a:gd name="T26" fmla="*/ 49 w 294"/>
                <a:gd name="T27" fmla="*/ 232 h 433"/>
                <a:gd name="T28" fmla="*/ 45 w 294"/>
                <a:gd name="T29" fmla="*/ 256 h 433"/>
                <a:gd name="T30" fmla="*/ 44 w 294"/>
                <a:gd name="T31" fmla="*/ 279 h 433"/>
                <a:gd name="T32" fmla="*/ 47 w 294"/>
                <a:gd name="T33" fmla="*/ 319 h 433"/>
                <a:gd name="T34" fmla="*/ 57 w 294"/>
                <a:gd name="T35" fmla="*/ 355 h 433"/>
                <a:gd name="T36" fmla="*/ 71 w 294"/>
                <a:gd name="T37" fmla="*/ 390 h 433"/>
                <a:gd name="T38" fmla="*/ 91 w 294"/>
                <a:gd name="T39" fmla="*/ 421 h 433"/>
                <a:gd name="T40" fmla="*/ 69 w 294"/>
                <a:gd name="T41" fmla="*/ 427 h 433"/>
                <a:gd name="T42" fmla="*/ 45 w 294"/>
                <a:gd name="T43" fmla="*/ 433 h 433"/>
                <a:gd name="T44" fmla="*/ 26 w 294"/>
                <a:gd name="T45" fmla="*/ 398 h 433"/>
                <a:gd name="T46" fmla="*/ 12 w 294"/>
                <a:gd name="T47" fmla="*/ 361 h 433"/>
                <a:gd name="T48" fmla="*/ 3 w 294"/>
                <a:gd name="T49" fmla="*/ 321 h 433"/>
                <a:gd name="T50" fmla="*/ 0 w 294"/>
                <a:gd name="T51" fmla="*/ 279 h 433"/>
                <a:gd name="T52" fmla="*/ 1 w 294"/>
                <a:gd name="T53" fmla="*/ 251 h 433"/>
                <a:gd name="T54" fmla="*/ 6 w 294"/>
                <a:gd name="T55" fmla="*/ 223 h 433"/>
                <a:gd name="T56" fmla="*/ 13 w 294"/>
                <a:gd name="T57" fmla="*/ 197 h 433"/>
                <a:gd name="T58" fmla="*/ 22 w 294"/>
                <a:gd name="T59" fmla="*/ 171 h 433"/>
                <a:gd name="T60" fmla="*/ 34 w 294"/>
                <a:gd name="T61" fmla="*/ 146 h 433"/>
                <a:gd name="T62" fmla="*/ 48 w 294"/>
                <a:gd name="T63" fmla="*/ 124 h 433"/>
                <a:gd name="T64" fmla="*/ 63 w 294"/>
                <a:gd name="T65" fmla="*/ 102 h 433"/>
                <a:gd name="T66" fmla="*/ 82 w 294"/>
                <a:gd name="T67" fmla="*/ 82 h 433"/>
                <a:gd name="T68" fmla="*/ 102 w 294"/>
                <a:gd name="T69" fmla="*/ 65 h 433"/>
                <a:gd name="T70" fmla="*/ 123 w 294"/>
                <a:gd name="T71" fmla="*/ 48 h 433"/>
                <a:gd name="T72" fmla="*/ 146 w 294"/>
                <a:gd name="T73" fmla="*/ 34 h 433"/>
                <a:gd name="T74" fmla="*/ 171 w 294"/>
                <a:gd name="T75" fmla="*/ 23 h 433"/>
                <a:gd name="T76" fmla="*/ 196 w 294"/>
                <a:gd name="T77" fmla="*/ 13 h 433"/>
                <a:gd name="T78" fmla="*/ 223 w 294"/>
                <a:gd name="T79" fmla="*/ 6 h 433"/>
                <a:gd name="T80" fmla="*/ 251 w 294"/>
                <a:gd name="T81" fmla="*/ 2 h 433"/>
                <a:gd name="T82" fmla="*/ 279 w 294"/>
                <a:gd name="T8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4" h="433">
                  <a:moveTo>
                    <a:pt x="279" y="0"/>
                  </a:moveTo>
                  <a:lnTo>
                    <a:pt x="279" y="0"/>
                  </a:lnTo>
                  <a:lnTo>
                    <a:pt x="284" y="12"/>
                  </a:lnTo>
                  <a:lnTo>
                    <a:pt x="287" y="22"/>
                  </a:lnTo>
                  <a:lnTo>
                    <a:pt x="290" y="33"/>
                  </a:lnTo>
                  <a:lnTo>
                    <a:pt x="294" y="44"/>
                  </a:lnTo>
                  <a:lnTo>
                    <a:pt x="286" y="44"/>
                  </a:lnTo>
                  <a:lnTo>
                    <a:pt x="279" y="44"/>
                  </a:lnTo>
                  <a:lnTo>
                    <a:pt x="267" y="44"/>
                  </a:lnTo>
                  <a:lnTo>
                    <a:pt x="255" y="46"/>
                  </a:lnTo>
                  <a:lnTo>
                    <a:pt x="243" y="47"/>
                  </a:lnTo>
                  <a:lnTo>
                    <a:pt x="232" y="49"/>
                  </a:lnTo>
                  <a:lnTo>
                    <a:pt x="220" y="51"/>
                  </a:lnTo>
                  <a:lnTo>
                    <a:pt x="209" y="55"/>
                  </a:lnTo>
                  <a:lnTo>
                    <a:pt x="198" y="59"/>
                  </a:lnTo>
                  <a:lnTo>
                    <a:pt x="188" y="63"/>
                  </a:lnTo>
                  <a:lnTo>
                    <a:pt x="167" y="73"/>
                  </a:lnTo>
                  <a:lnTo>
                    <a:pt x="147" y="85"/>
                  </a:lnTo>
                  <a:lnTo>
                    <a:pt x="129" y="98"/>
                  </a:lnTo>
                  <a:lnTo>
                    <a:pt x="113" y="113"/>
                  </a:lnTo>
                  <a:lnTo>
                    <a:pt x="97" y="130"/>
                  </a:lnTo>
                  <a:lnTo>
                    <a:pt x="84" y="148"/>
                  </a:lnTo>
                  <a:lnTo>
                    <a:pt x="73" y="168"/>
                  </a:lnTo>
                  <a:lnTo>
                    <a:pt x="62" y="188"/>
                  </a:lnTo>
                  <a:lnTo>
                    <a:pt x="58" y="199"/>
                  </a:lnTo>
                  <a:lnTo>
                    <a:pt x="54" y="209"/>
                  </a:lnTo>
                  <a:lnTo>
                    <a:pt x="51" y="221"/>
                  </a:lnTo>
                  <a:lnTo>
                    <a:pt x="49" y="232"/>
                  </a:lnTo>
                  <a:lnTo>
                    <a:pt x="47" y="244"/>
                  </a:lnTo>
                  <a:lnTo>
                    <a:pt x="45" y="256"/>
                  </a:lnTo>
                  <a:lnTo>
                    <a:pt x="44" y="268"/>
                  </a:lnTo>
                  <a:lnTo>
                    <a:pt x="44" y="279"/>
                  </a:lnTo>
                  <a:lnTo>
                    <a:pt x="44" y="300"/>
                  </a:lnTo>
                  <a:lnTo>
                    <a:pt x="47" y="319"/>
                  </a:lnTo>
                  <a:lnTo>
                    <a:pt x="51" y="337"/>
                  </a:lnTo>
                  <a:lnTo>
                    <a:pt x="57" y="355"/>
                  </a:lnTo>
                  <a:lnTo>
                    <a:pt x="62" y="373"/>
                  </a:lnTo>
                  <a:lnTo>
                    <a:pt x="71" y="390"/>
                  </a:lnTo>
                  <a:lnTo>
                    <a:pt x="80" y="406"/>
                  </a:lnTo>
                  <a:lnTo>
                    <a:pt x="91" y="421"/>
                  </a:lnTo>
                  <a:lnTo>
                    <a:pt x="79" y="424"/>
                  </a:lnTo>
                  <a:lnTo>
                    <a:pt x="69" y="427"/>
                  </a:lnTo>
                  <a:lnTo>
                    <a:pt x="58" y="431"/>
                  </a:lnTo>
                  <a:lnTo>
                    <a:pt x="45" y="433"/>
                  </a:lnTo>
                  <a:lnTo>
                    <a:pt x="35" y="416"/>
                  </a:lnTo>
                  <a:lnTo>
                    <a:pt x="26" y="398"/>
                  </a:lnTo>
                  <a:lnTo>
                    <a:pt x="18" y="380"/>
                  </a:lnTo>
                  <a:lnTo>
                    <a:pt x="12" y="361"/>
                  </a:lnTo>
                  <a:lnTo>
                    <a:pt x="7" y="341"/>
                  </a:lnTo>
                  <a:lnTo>
                    <a:pt x="3" y="321"/>
                  </a:lnTo>
                  <a:lnTo>
                    <a:pt x="0" y="301"/>
                  </a:lnTo>
                  <a:lnTo>
                    <a:pt x="0" y="279"/>
                  </a:lnTo>
                  <a:lnTo>
                    <a:pt x="0" y="266"/>
                  </a:lnTo>
                  <a:lnTo>
                    <a:pt x="1" y="251"/>
                  </a:lnTo>
                  <a:lnTo>
                    <a:pt x="4" y="238"/>
                  </a:lnTo>
                  <a:lnTo>
                    <a:pt x="6" y="223"/>
                  </a:lnTo>
                  <a:lnTo>
                    <a:pt x="8" y="209"/>
                  </a:lnTo>
                  <a:lnTo>
                    <a:pt x="13" y="197"/>
                  </a:lnTo>
                  <a:lnTo>
                    <a:pt x="17" y="183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4" y="146"/>
                  </a:lnTo>
                  <a:lnTo>
                    <a:pt x="40" y="135"/>
                  </a:lnTo>
                  <a:lnTo>
                    <a:pt x="48" y="124"/>
                  </a:lnTo>
                  <a:lnTo>
                    <a:pt x="56" y="112"/>
                  </a:lnTo>
                  <a:lnTo>
                    <a:pt x="63" y="102"/>
                  </a:lnTo>
                  <a:lnTo>
                    <a:pt x="73" y="92"/>
                  </a:lnTo>
                  <a:lnTo>
                    <a:pt x="82" y="82"/>
                  </a:lnTo>
                  <a:lnTo>
                    <a:pt x="92" y="73"/>
                  </a:lnTo>
                  <a:lnTo>
                    <a:pt x="102" y="65"/>
                  </a:lnTo>
                  <a:lnTo>
                    <a:pt x="112" y="56"/>
                  </a:lnTo>
                  <a:lnTo>
                    <a:pt x="123" y="48"/>
                  </a:lnTo>
                  <a:lnTo>
                    <a:pt x="135" y="41"/>
                  </a:lnTo>
                  <a:lnTo>
                    <a:pt x="146" y="34"/>
                  </a:lnTo>
                  <a:lnTo>
                    <a:pt x="158" y="28"/>
                  </a:lnTo>
                  <a:lnTo>
                    <a:pt x="171" y="23"/>
                  </a:lnTo>
                  <a:lnTo>
                    <a:pt x="183" y="17"/>
                  </a:lnTo>
                  <a:lnTo>
                    <a:pt x="196" y="13"/>
                  </a:lnTo>
                  <a:lnTo>
                    <a:pt x="209" y="9"/>
                  </a:lnTo>
                  <a:lnTo>
                    <a:pt x="223" y="6"/>
                  </a:lnTo>
                  <a:lnTo>
                    <a:pt x="236" y="4"/>
                  </a:lnTo>
                  <a:lnTo>
                    <a:pt x="251" y="2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011853" y="3422910"/>
            <a:ext cx="508310" cy="466338"/>
            <a:chOff x="-1447800" y="2895600"/>
            <a:chExt cx="346075" cy="317501"/>
          </a:xfrm>
          <a:solidFill>
            <a:schemeClr val="bg1"/>
          </a:solidFill>
          <a:effectLst/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-1447800" y="2895600"/>
              <a:ext cx="225425" cy="227013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  <p:sp>
          <p:nvSpPr>
            <p:cNvPr id="31" name="Freeform 6"/>
            <p:cNvSpPr>
              <a:spLocks noEditPoints="1"/>
            </p:cNvSpPr>
            <p:nvPr/>
          </p:nvSpPr>
          <p:spPr bwMode="auto">
            <a:xfrm>
              <a:off x="-1262063" y="3052763"/>
              <a:ext cx="160338" cy="160338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11217" y="1967494"/>
            <a:ext cx="548706" cy="631688"/>
            <a:chOff x="5818111" y="5572453"/>
            <a:chExt cx="770621" cy="887165"/>
          </a:xfrm>
          <a:solidFill>
            <a:schemeClr val="bg1"/>
          </a:solidFill>
        </p:grpSpPr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5951305" y="6055280"/>
              <a:ext cx="332984" cy="404338"/>
            </a:xfrm>
            <a:custGeom>
              <a:avLst/>
              <a:gdLst>
                <a:gd name="T0" fmla="*/ 0 w 840"/>
                <a:gd name="T1" fmla="*/ 0 h 1020"/>
                <a:gd name="T2" fmla="*/ 210 w 840"/>
                <a:gd name="T3" fmla="*/ 262 h 1020"/>
                <a:gd name="T4" fmla="*/ 408 w 840"/>
                <a:gd name="T5" fmla="*/ 168 h 1020"/>
                <a:gd name="T6" fmla="*/ 651 w 840"/>
                <a:gd name="T7" fmla="*/ 237 h 1020"/>
                <a:gd name="T8" fmla="*/ 826 w 840"/>
                <a:gd name="T9" fmla="*/ 0 h 1020"/>
                <a:gd name="T10" fmla="*/ 840 w 840"/>
                <a:gd name="T11" fmla="*/ 1020 h 1020"/>
                <a:gd name="T12" fmla="*/ 412 w 840"/>
                <a:gd name="T13" fmla="*/ 672 h 1020"/>
                <a:gd name="T14" fmla="*/ 15 w 840"/>
                <a:gd name="T15" fmla="*/ 1020 h 1020"/>
                <a:gd name="T16" fmla="*/ 0 w 840"/>
                <a:gd name="T17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0" h="1020">
                  <a:moveTo>
                    <a:pt x="0" y="0"/>
                  </a:moveTo>
                  <a:lnTo>
                    <a:pt x="210" y="262"/>
                  </a:lnTo>
                  <a:lnTo>
                    <a:pt x="408" y="168"/>
                  </a:lnTo>
                  <a:lnTo>
                    <a:pt x="651" y="237"/>
                  </a:lnTo>
                  <a:lnTo>
                    <a:pt x="826" y="0"/>
                  </a:lnTo>
                  <a:lnTo>
                    <a:pt x="840" y="1020"/>
                  </a:lnTo>
                  <a:lnTo>
                    <a:pt x="412" y="672"/>
                  </a:lnTo>
                  <a:lnTo>
                    <a:pt x="15" y="102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auto">
            <a:xfrm>
              <a:off x="5818111" y="5579588"/>
              <a:ext cx="612454" cy="604128"/>
            </a:xfrm>
            <a:custGeom>
              <a:avLst/>
              <a:gdLst>
                <a:gd name="T0" fmla="*/ 774 w 1546"/>
                <a:gd name="T1" fmla="*/ 0 h 1524"/>
                <a:gd name="T2" fmla="*/ 1001 w 1546"/>
                <a:gd name="T3" fmla="*/ 224 h 1524"/>
                <a:gd name="T4" fmla="*/ 1278 w 1546"/>
                <a:gd name="T5" fmla="*/ 184 h 1524"/>
                <a:gd name="T6" fmla="*/ 1309 w 1546"/>
                <a:gd name="T7" fmla="*/ 502 h 1524"/>
                <a:gd name="T8" fmla="*/ 1546 w 1546"/>
                <a:gd name="T9" fmla="*/ 649 h 1524"/>
                <a:gd name="T10" fmla="*/ 1367 w 1546"/>
                <a:gd name="T11" fmla="*/ 913 h 1524"/>
                <a:gd name="T12" fmla="*/ 1454 w 1546"/>
                <a:gd name="T13" fmla="*/ 1179 h 1524"/>
                <a:gd name="T14" fmla="*/ 1145 w 1546"/>
                <a:gd name="T15" fmla="*/ 1265 h 1524"/>
                <a:gd name="T16" fmla="*/ 1042 w 1546"/>
                <a:gd name="T17" fmla="*/ 1524 h 1524"/>
                <a:gd name="T18" fmla="*/ 751 w 1546"/>
                <a:gd name="T19" fmla="*/ 1392 h 1524"/>
                <a:gd name="T20" fmla="*/ 504 w 1546"/>
                <a:gd name="T21" fmla="*/ 1524 h 1524"/>
                <a:gd name="T22" fmla="*/ 366 w 1546"/>
                <a:gd name="T23" fmla="*/ 1236 h 1524"/>
                <a:gd name="T24" fmla="*/ 92 w 1546"/>
                <a:gd name="T25" fmla="*/ 1179 h 1524"/>
                <a:gd name="T26" fmla="*/ 172 w 1546"/>
                <a:gd name="T27" fmla="*/ 869 h 1524"/>
                <a:gd name="T28" fmla="*/ 0 w 1546"/>
                <a:gd name="T29" fmla="*/ 649 h 1524"/>
                <a:gd name="T30" fmla="*/ 259 w 1546"/>
                <a:gd name="T31" fmla="*/ 463 h 1524"/>
                <a:gd name="T32" fmla="*/ 267 w 1546"/>
                <a:gd name="T33" fmla="*/ 184 h 1524"/>
                <a:gd name="T34" fmla="*/ 587 w 1546"/>
                <a:gd name="T35" fmla="*/ 208 h 1524"/>
                <a:gd name="T36" fmla="*/ 774 w 1546"/>
                <a:gd name="T37" fmla="*/ 0 h 1524"/>
                <a:gd name="T38" fmla="*/ 774 w 1546"/>
                <a:gd name="T39" fmla="*/ 120 h 1524"/>
                <a:gd name="T40" fmla="*/ 965 w 1546"/>
                <a:gd name="T41" fmla="*/ 308 h 1524"/>
                <a:gd name="T42" fmla="*/ 1199 w 1546"/>
                <a:gd name="T43" fmla="*/ 275 h 1524"/>
                <a:gd name="T44" fmla="*/ 1225 w 1546"/>
                <a:gd name="T45" fmla="*/ 543 h 1524"/>
                <a:gd name="T46" fmla="*/ 1425 w 1546"/>
                <a:gd name="T47" fmla="*/ 667 h 1524"/>
                <a:gd name="T48" fmla="*/ 1273 w 1546"/>
                <a:gd name="T49" fmla="*/ 889 h 1524"/>
                <a:gd name="T50" fmla="*/ 1346 w 1546"/>
                <a:gd name="T51" fmla="*/ 1113 h 1524"/>
                <a:gd name="T52" fmla="*/ 1087 w 1546"/>
                <a:gd name="T53" fmla="*/ 1186 h 1524"/>
                <a:gd name="T54" fmla="*/ 1000 w 1546"/>
                <a:gd name="T55" fmla="*/ 1405 h 1524"/>
                <a:gd name="T56" fmla="*/ 755 w 1546"/>
                <a:gd name="T57" fmla="*/ 1293 h 1524"/>
                <a:gd name="T58" fmla="*/ 546 w 1546"/>
                <a:gd name="T59" fmla="*/ 1405 h 1524"/>
                <a:gd name="T60" fmla="*/ 431 w 1546"/>
                <a:gd name="T61" fmla="*/ 1161 h 1524"/>
                <a:gd name="T62" fmla="*/ 200 w 1546"/>
                <a:gd name="T63" fmla="*/ 1113 h 1524"/>
                <a:gd name="T64" fmla="*/ 266 w 1546"/>
                <a:gd name="T65" fmla="*/ 852 h 1524"/>
                <a:gd name="T66" fmla="*/ 121 w 1546"/>
                <a:gd name="T67" fmla="*/ 667 h 1524"/>
                <a:gd name="T68" fmla="*/ 340 w 1546"/>
                <a:gd name="T69" fmla="*/ 511 h 1524"/>
                <a:gd name="T70" fmla="*/ 347 w 1546"/>
                <a:gd name="T71" fmla="*/ 275 h 1524"/>
                <a:gd name="T72" fmla="*/ 616 w 1546"/>
                <a:gd name="T73" fmla="*/ 295 h 1524"/>
                <a:gd name="T74" fmla="*/ 774 w 1546"/>
                <a:gd name="T75" fmla="*/ 12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6" h="1524">
                  <a:moveTo>
                    <a:pt x="774" y="0"/>
                  </a:moveTo>
                  <a:lnTo>
                    <a:pt x="1001" y="224"/>
                  </a:lnTo>
                  <a:lnTo>
                    <a:pt x="1278" y="184"/>
                  </a:lnTo>
                  <a:lnTo>
                    <a:pt x="1309" y="502"/>
                  </a:lnTo>
                  <a:lnTo>
                    <a:pt x="1546" y="649"/>
                  </a:lnTo>
                  <a:lnTo>
                    <a:pt x="1367" y="913"/>
                  </a:lnTo>
                  <a:lnTo>
                    <a:pt x="1454" y="1179"/>
                  </a:lnTo>
                  <a:lnTo>
                    <a:pt x="1145" y="1265"/>
                  </a:lnTo>
                  <a:lnTo>
                    <a:pt x="1042" y="1524"/>
                  </a:lnTo>
                  <a:lnTo>
                    <a:pt x="751" y="1392"/>
                  </a:lnTo>
                  <a:lnTo>
                    <a:pt x="504" y="1524"/>
                  </a:lnTo>
                  <a:lnTo>
                    <a:pt x="366" y="1236"/>
                  </a:lnTo>
                  <a:lnTo>
                    <a:pt x="92" y="1179"/>
                  </a:lnTo>
                  <a:lnTo>
                    <a:pt x="172" y="869"/>
                  </a:lnTo>
                  <a:lnTo>
                    <a:pt x="0" y="649"/>
                  </a:lnTo>
                  <a:lnTo>
                    <a:pt x="259" y="463"/>
                  </a:lnTo>
                  <a:lnTo>
                    <a:pt x="267" y="184"/>
                  </a:lnTo>
                  <a:lnTo>
                    <a:pt x="587" y="208"/>
                  </a:lnTo>
                  <a:lnTo>
                    <a:pt x="774" y="0"/>
                  </a:lnTo>
                  <a:close/>
                  <a:moveTo>
                    <a:pt x="774" y="120"/>
                  </a:moveTo>
                  <a:lnTo>
                    <a:pt x="965" y="308"/>
                  </a:lnTo>
                  <a:lnTo>
                    <a:pt x="1199" y="275"/>
                  </a:lnTo>
                  <a:lnTo>
                    <a:pt x="1225" y="543"/>
                  </a:lnTo>
                  <a:lnTo>
                    <a:pt x="1425" y="667"/>
                  </a:lnTo>
                  <a:lnTo>
                    <a:pt x="1273" y="889"/>
                  </a:lnTo>
                  <a:lnTo>
                    <a:pt x="1346" y="1113"/>
                  </a:lnTo>
                  <a:lnTo>
                    <a:pt x="1087" y="1186"/>
                  </a:lnTo>
                  <a:lnTo>
                    <a:pt x="1000" y="1405"/>
                  </a:lnTo>
                  <a:lnTo>
                    <a:pt x="755" y="1293"/>
                  </a:lnTo>
                  <a:lnTo>
                    <a:pt x="546" y="1405"/>
                  </a:lnTo>
                  <a:lnTo>
                    <a:pt x="431" y="1161"/>
                  </a:lnTo>
                  <a:lnTo>
                    <a:pt x="200" y="1113"/>
                  </a:lnTo>
                  <a:lnTo>
                    <a:pt x="266" y="852"/>
                  </a:lnTo>
                  <a:lnTo>
                    <a:pt x="121" y="667"/>
                  </a:lnTo>
                  <a:lnTo>
                    <a:pt x="340" y="511"/>
                  </a:lnTo>
                  <a:lnTo>
                    <a:pt x="347" y="275"/>
                  </a:lnTo>
                  <a:lnTo>
                    <a:pt x="616" y="295"/>
                  </a:lnTo>
                  <a:lnTo>
                    <a:pt x="77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5944169" y="5572453"/>
              <a:ext cx="644563" cy="447150"/>
            </a:xfrm>
            <a:custGeom>
              <a:avLst/>
              <a:gdLst>
                <a:gd name="T0" fmla="*/ 0 w 1626"/>
                <a:gd name="T1" fmla="*/ 678 h 1128"/>
                <a:gd name="T2" fmla="*/ 498 w 1626"/>
                <a:gd name="T3" fmla="*/ 1128 h 1128"/>
                <a:gd name="T4" fmla="*/ 1626 w 1626"/>
                <a:gd name="T5" fmla="*/ 0 h 1128"/>
                <a:gd name="T6" fmla="*/ 486 w 1626"/>
                <a:gd name="T7" fmla="*/ 888 h 1128"/>
                <a:gd name="T8" fmla="*/ 0 w 1626"/>
                <a:gd name="T9" fmla="*/ 678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6" h="1128">
                  <a:moveTo>
                    <a:pt x="0" y="678"/>
                  </a:moveTo>
                  <a:lnTo>
                    <a:pt x="498" y="1128"/>
                  </a:lnTo>
                  <a:lnTo>
                    <a:pt x="1626" y="0"/>
                  </a:lnTo>
                  <a:lnTo>
                    <a:pt x="486" y="888"/>
                  </a:lnTo>
                  <a:lnTo>
                    <a:pt x="0" y="6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14671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1933451" y="4785041"/>
            <a:ext cx="1015673" cy="886899"/>
            <a:chOff x="1664116" y="4785041"/>
            <a:chExt cx="1015673" cy="886899"/>
          </a:xfrm>
          <a:effectLst/>
        </p:grpSpPr>
        <p:grpSp>
          <p:nvGrpSpPr>
            <p:cNvPr id="32" name="Group 31"/>
            <p:cNvGrpSpPr/>
            <p:nvPr/>
          </p:nvGrpSpPr>
          <p:grpSpPr>
            <a:xfrm>
              <a:off x="1664116" y="4785041"/>
              <a:ext cx="1015673" cy="854033"/>
              <a:chOff x="-5565775" y="5628359"/>
              <a:chExt cx="1670050" cy="1404267"/>
            </a:xfrm>
          </p:grpSpPr>
          <p:sp>
            <p:nvSpPr>
              <p:cNvPr id="33" name="Rectangle 20"/>
              <p:cNvSpPr>
                <a:spLocks noChangeArrowheads="1"/>
              </p:cNvSpPr>
              <p:nvPr/>
            </p:nvSpPr>
            <p:spPr bwMode="auto">
              <a:xfrm>
                <a:off x="-5565775" y="5824538"/>
                <a:ext cx="1208088" cy="1208088"/>
              </a:xfrm>
              <a:prstGeom prst="rect">
                <a:avLst/>
              </a:prstGeom>
              <a:solidFill>
                <a:srgbClr val="CE2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1"/>
              <p:cNvSpPr>
                <a:spLocks/>
              </p:cNvSpPr>
              <p:nvPr/>
            </p:nvSpPr>
            <p:spPr bwMode="auto">
              <a:xfrm>
                <a:off x="-4357689" y="5628359"/>
                <a:ext cx="461964" cy="1393824"/>
              </a:xfrm>
              <a:custGeom>
                <a:avLst/>
                <a:gdLst>
                  <a:gd name="T0" fmla="*/ 0 w 1168"/>
                  <a:gd name="T1" fmla="*/ 3512 h 3512"/>
                  <a:gd name="T2" fmla="*/ 1168 w 1168"/>
                  <a:gd name="T3" fmla="*/ 3043 h 3512"/>
                  <a:gd name="T4" fmla="*/ 1168 w 1168"/>
                  <a:gd name="T5" fmla="*/ 0 h 3512"/>
                  <a:gd name="T6" fmla="*/ 0 w 1168"/>
                  <a:gd name="T7" fmla="*/ 470 h 3512"/>
                  <a:gd name="T8" fmla="*/ 0 w 1168"/>
                  <a:gd name="T9" fmla="*/ 3512 h 3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8" h="3512">
                    <a:moveTo>
                      <a:pt x="0" y="3512"/>
                    </a:moveTo>
                    <a:lnTo>
                      <a:pt x="1168" y="3043"/>
                    </a:lnTo>
                    <a:lnTo>
                      <a:pt x="1168" y="0"/>
                    </a:lnTo>
                    <a:lnTo>
                      <a:pt x="0" y="470"/>
                    </a:lnTo>
                    <a:lnTo>
                      <a:pt x="0" y="3512"/>
                    </a:lnTo>
                    <a:close/>
                  </a:path>
                </a:pathLst>
              </a:custGeom>
              <a:solidFill>
                <a:srgbClr val="A51A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2"/>
              <p:cNvSpPr>
                <a:spLocks/>
              </p:cNvSpPr>
              <p:nvPr/>
            </p:nvSpPr>
            <p:spPr bwMode="auto">
              <a:xfrm>
                <a:off x="-5565775" y="5638800"/>
                <a:ext cx="1670050" cy="185738"/>
              </a:xfrm>
              <a:custGeom>
                <a:avLst/>
                <a:gdLst>
                  <a:gd name="T0" fmla="*/ 4208 w 4208"/>
                  <a:gd name="T1" fmla="*/ 0 h 470"/>
                  <a:gd name="T2" fmla="*/ 1166 w 4208"/>
                  <a:gd name="T3" fmla="*/ 0 h 470"/>
                  <a:gd name="T4" fmla="*/ 0 w 4208"/>
                  <a:gd name="T5" fmla="*/ 470 h 470"/>
                  <a:gd name="T6" fmla="*/ 3042 w 4208"/>
                  <a:gd name="T7" fmla="*/ 470 h 470"/>
                  <a:gd name="T8" fmla="*/ 4208 w 4208"/>
                  <a:gd name="T9" fmla="*/ 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8" h="470">
                    <a:moveTo>
                      <a:pt x="4208" y="0"/>
                    </a:moveTo>
                    <a:lnTo>
                      <a:pt x="1166" y="0"/>
                    </a:lnTo>
                    <a:lnTo>
                      <a:pt x="0" y="470"/>
                    </a:lnTo>
                    <a:lnTo>
                      <a:pt x="3042" y="470"/>
                    </a:lnTo>
                    <a:lnTo>
                      <a:pt x="4208" y="0"/>
                    </a:lnTo>
                    <a:close/>
                  </a:path>
                </a:pathLst>
              </a:custGeom>
              <a:solidFill>
                <a:srgbClr val="A51A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1" name="TextBox 70"/>
            <p:cNvSpPr txBox="1"/>
            <p:nvPr/>
          </p:nvSpPr>
          <p:spPr>
            <a:xfrm>
              <a:off x="1825314" y="4902499"/>
              <a:ext cx="46038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T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650097" y="4086612"/>
            <a:ext cx="1015673" cy="874715"/>
            <a:chOff x="1380762" y="4086612"/>
            <a:chExt cx="1015673" cy="874715"/>
          </a:xfrm>
          <a:effectLst/>
        </p:grpSpPr>
        <p:grpSp>
          <p:nvGrpSpPr>
            <p:cNvPr id="36" name="Group 35"/>
            <p:cNvGrpSpPr/>
            <p:nvPr/>
          </p:nvGrpSpPr>
          <p:grpSpPr>
            <a:xfrm>
              <a:off x="1380762" y="4086612"/>
              <a:ext cx="1015673" cy="854033"/>
              <a:chOff x="-5565775" y="5628359"/>
              <a:chExt cx="1670050" cy="1404267"/>
            </a:xfrm>
          </p:grpSpPr>
          <p:sp>
            <p:nvSpPr>
              <p:cNvPr id="40" name="Rectangle 20"/>
              <p:cNvSpPr>
                <a:spLocks noChangeArrowheads="1"/>
              </p:cNvSpPr>
              <p:nvPr/>
            </p:nvSpPr>
            <p:spPr bwMode="auto">
              <a:xfrm>
                <a:off x="-5565775" y="5824538"/>
                <a:ext cx="1208088" cy="1208088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1"/>
              <p:cNvSpPr>
                <a:spLocks/>
              </p:cNvSpPr>
              <p:nvPr/>
            </p:nvSpPr>
            <p:spPr bwMode="auto">
              <a:xfrm>
                <a:off x="-4357689" y="5628359"/>
                <a:ext cx="461964" cy="1393824"/>
              </a:xfrm>
              <a:custGeom>
                <a:avLst/>
                <a:gdLst>
                  <a:gd name="T0" fmla="*/ 0 w 1168"/>
                  <a:gd name="T1" fmla="*/ 3512 h 3512"/>
                  <a:gd name="T2" fmla="*/ 1168 w 1168"/>
                  <a:gd name="T3" fmla="*/ 3043 h 3512"/>
                  <a:gd name="T4" fmla="*/ 1168 w 1168"/>
                  <a:gd name="T5" fmla="*/ 0 h 3512"/>
                  <a:gd name="T6" fmla="*/ 0 w 1168"/>
                  <a:gd name="T7" fmla="*/ 470 h 3512"/>
                  <a:gd name="T8" fmla="*/ 0 w 1168"/>
                  <a:gd name="T9" fmla="*/ 3512 h 3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8" h="3512">
                    <a:moveTo>
                      <a:pt x="0" y="3512"/>
                    </a:moveTo>
                    <a:lnTo>
                      <a:pt x="1168" y="3043"/>
                    </a:lnTo>
                    <a:lnTo>
                      <a:pt x="1168" y="0"/>
                    </a:lnTo>
                    <a:lnTo>
                      <a:pt x="0" y="470"/>
                    </a:lnTo>
                    <a:lnTo>
                      <a:pt x="0" y="3512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2"/>
              <p:cNvSpPr>
                <a:spLocks/>
              </p:cNvSpPr>
              <p:nvPr/>
            </p:nvSpPr>
            <p:spPr bwMode="auto">
              <a:xfrm>
                <a:off x="-5565775" y="5638800"/>
                <a:ext cx="1670050" cy="185738"/>
              </a:xfrm>
              <a:custGeom>
                <a:avLst/>
                <a:gdLst>
                  <a:gd name="T0" fmla="*/ 4208 w 4208"/>
                  <a:gd name="T1" fmla="*/ 0 h 470"/>
                  <a:gd name="T2" fmla="*/ 1166 w 4208"/>
                  <a:gd name="T3" fmla="*/ 0 h 470"/>
                  <a:gd name="T4" fmla="*/ 0 w 4208"/>
                  <a:gd name="T5" fmla="*/ 470 h 470"/>
                  <a:gd name="T6" fmla="*/ 3042 w 4208"/>
                  <a:gd name="T7" fmla="*/ 470 h 470"/>
                  <a:gd name="T8" fmla="*/ 4208 w 4208"/>
                  <a:gd name="T9" fmla="*/ 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8" h="470">
                    <a:moveTo>
                      <a:pt x="4208" y="0"/>
                    </a:moveTo>
                    <a:lnTo>
                      <a:pt x="1166" y="0"/>
                    </a:lnTo>
                    <a:lnTo>
                      <a:pt x="0" y="470"/>
                    </a:lnTo>
                    <a:lnTo>
                      <a:pt x="3042" y="470"/>
                    </a:lnTo>
                    <a:lnTo>
                      <a:pt x="4208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522704" y="4191886"/>
              <a:ext cx="49084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</a:rPr>
                <a:t>R</a:t>
              </a:r>
            </a:p>
          </p:txBody>
        </p:sp>
      </p:grp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3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907962" y="3333839"/>
            <a:ext cx="1015673" cy="898375"/>
            <a:chOff x="1638627" y="3333839"/>
            <a:chExt cx="1015673" cy="898375"/>
          </a:xfrm>
          <a:effectLst/>
        </p:grpSpPr>
        <p:sp>
          <p:nvSpPr>
            <p:cNvPr id="45" name="Rectangle 20"/>
            <p:cNvSpPr>
              <a:spLocks noChangeArrowheads="1"/>
            </p:cNvSpPr>
            <p:nvPr/>
          </p:nvSpPr>
          <p:spPr bwMode="auto">
            <a:xfrm>
              <a:off x="1638627" y="3453149"/>
              <a:ext cx="734722" cy="734723"/>
            </a:xfrm>
            <a:prstGeom prst="rect">
              <a:avLst/>
            </a:prstGeom>
            <a:solidFill>
              <a:srgbClr val="2A9B1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2373348" y="3333839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227C1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1638627" y="3340189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227C1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801350" y="3462773"/>
              <a:ext cx="511679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A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617070" y="2583322"/>
            <a:ext cx="1015673" cy="868907"/>
            <a:chOff x="1347735" y="2583322"/>
            <a:chExt cx="1015673" cy="868907"/>
          </a:xfrm>
          <a:effectLst/>
        </p:grpSpPr>
        <p:sp>
          <p:nvSpPr>
            <p:cNvPr id="49" name="Rectangle 20"/>
            <p:cNvSpPr>
              <a:spLocks noChangeArrowheads="1"/>
            </p:cNvSpPr>
            <p:nvPr/>
          </p:nvSpPr>
          <p:spPr bwMode="auto">
            <a:xfrm>
              <a:off x="1347735" y="2699457"/>
              <a:ext cx="734722" cy="734723"/>
            </a:xfrm>
            <a:prstGeom prst="rect">
              <a:avLst/>
            </a:prstGeom>
            <a:solidFill>
              <a:srgbClr val="E99E0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2082456" y="2583322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BA7E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2"/>
            <p:cNvSpPr>
              <a:spLocks/>
            </p:cNvSpPr>
            <p:nvPr/>
          </p:nvSpPr>
          <p:spPr bwMode="auto">
            <a:xfrm>
              <a:off x="1347735" y="2586497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BA7E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415870" y="2682788"/>
              <a:ext cx="66717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M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968988" y="1827442"/>
            <a:ext cx="1015673" cy="853961"/>
            <a:chOff x="1699653" y="1827442"/>
            <a:chExt cx="1015673" cy="853961"/>
          </a:xfrm>
          <a:effectLst/>
        </p:grpSpPr>
        <p:sp>
          <p:nvSpPr>
            <p:cNvPr id="57" name="Rectangle 20"/>
            <p:cNvSpPr>
              <a:spLocks noChangeArrowheads="1"/>
            </p:cNvSpPr>
            <p:nvPr/>
          </p:nvSpPr>
          <p:spPr bwMode="auto">
            <a:xfrm>
              <a:off x="1699653" y="1940402"/>
              <a:ext cx="734722" cy="734723"/>
            </a:xfrm>
            <a:prstGeom prst="rect">
              <a:avLst/>
            </a:prstGeom>
            <a:solidFill>
              <a:srgbClr val="0D65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1"/>
            <p:cNvSpPr>
              <a:spLocks/>
            </p:cNvSpPr>
            <p:nvPr/>
          </p:nvSpPr>
          <p:spPr bwMode="auto">
            <a:xfrm>
              <a:off x="2434374" y="1827442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0A518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2"/>
            <p:cNvSpPr>
              <a:spLocks/>
            </p:cNvSpPr>
            <p:nvPr/>
          </p:nvSpPr>
          <p:spPr bwMode="auto">
            <a:xfrm>
              <a:off x="1699653" y="1827442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0A518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870135" y="1911962"/>
              <a:ext cx="44435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S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2" name="Straight Connector 71"/>
          <p:cNvCxnSpPr/>
          <p:nvPr/>
        </p:nvCxnSpPr>
        <p:spPr>
          <a:xfrm>
            <a:off x="2923635" y="2237075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2545810" y="2951450"/>
            <a:ext cx="24617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2812510" y="3733800"/>
            <a:ext cx="21950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555335" y="4448175"/>
            <a:ext cx="24522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2850610" y="5200650"/>
            <a:ext cx="21569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Rectangle 33"/>
          <p:cNvSpPr>
            <a:spLocks/>
          </p:cNvSpPr>
          <p:nvPr/>
        </p:nvSpPr>
        <p:spPr bwMode="auto">
          <a:xfrm>
            <a:off x="5227481" y="1993488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chemeClr val="bg1"/>
                </a:solidFill>
              </a:rPr>
              <a:t>Lore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err="1">
                <a:solidFill>
                  <a:schemeClr val="bg1"/>
                </a:solidFill>
              </a:rPr>
              <a:t>Ipsu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83" name="Rectangle 33"/>
          <p:cNvSpPr>
            <a:spLocks/>
          </p:cNvSpPr>
          <p:nvPr/>
        </p:nvSpPr>
        <p:spPr bwMode="auto">
          <a:xfrm>
            <a:off x="5227481" y="2699457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chemeClr val="bg1"/>
                </a:solidFill>
              </a:rPr>
              <a:t>Lore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err="1">
                <a:solidFill>
                  <a:schemeClr val="bg1"/>
                </a:solidFill>
              </a:rPr>
              <a:t>Ipsu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87" name="Rectangle 33"/>
          <p:cNvSpPr>
            <a:spLocks/>
          </p:cNvSpPr>
          <p:nvPr/>
        </p:nvSpPr>
        <p:spPr bwMode="auto">
          <a:xfrm>
            <a:off x="5227481" y="3535118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chemeClr val="bg1"/>
                </a:solidFill>
              </a:rPr>
              <a:t>Lore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err="1">
                <a:solidFill>
                  <a:schemeClr val="bg1"/>
                </a:solidFill>
              </a:rPr>
              <a:t>Ipsu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88" name="Rectangle 33"/>
          <p:cNvSpPr>
            <a:spLocks/>
          </p:cNvSpPr>
          <p:nvPr/>
        </p:nvSpPr>
        <p:spPr bwMode="auto">
          <a:xfrm>
            <a:off x="5227481" y="4241087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chemeClr val="bg1"/>
                </a:solidFill>
              </a:rPr>
              <a:t>Lore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err="1">
                <a:solidFill>
                  <a:schemeClr val="bg1"/>
                </a:solidFill>
              </a:rPr>
              <a:t>Ipsu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89" name="Rectangle 33"/>
          <p:cNvSpPr>
            <a:spLocks/>
          </p:cNvSpPr>
          <p:nvPr/>
        </p:nvSpPr>
        <p:spPr bwMode="auto">
          <a:xfrm>
            <a:off x="5227481" y="4934405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chemeClr val="bg1"/>
                </a:solidFill>
              </a:rPr>
              <a:t>Lore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err="1">
                <a:solidFill>
                  <a:schemeClr val="bg1"/>
                </a:solidFill>
              </a:rPr>
              <a:t>Ipsum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dirty="0">
                <a:solidFill>
                  <a:schemeClr val="bg1"/>
                </a:solidFill>
              </a:rPr>
              <a:t>is simply dummy text of the printing and typesettin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012502" y="1970177"/>
            <a:ext cx="7290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SPECIFI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622112" y="2681773"/>
            <a:ext cx="1066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MEASURABL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000138" y="3471057"/>
            <a:ext cx="965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ATTAINABL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675127" y="4182653"/>
            <a:ext cx="8417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RELEVA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005343" y="4946213"/>
            <a:ext cx="1050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TIME-BOUND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20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4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OAL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881398" y="1731004"/>
            <a:ext cx="1381203" cy="3921570"/>
            <a:chOff x="7023893" y="1891830"/>
            <a:chExt cx="1211264" cy="3439072"/>
          </a:xfrm>
        </p:grpSpPr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7216077" y="2273667"/>
              <a:ext cx="768735" cy="3057235"/>
            </a:xfrm>
            <a:custGeom>
              <a:avLst/>
              <a:gdLst>
                <a:gd name="T0" fmla="*/ 665 w 1214"/>
                <a:gd name="T1" fmla="*/ 5 h 4837"/>
                <a:gd name="T2" fmla="*/ 728 w 1214"/>
                <a:gd name="T3" fmla="*/ 21 h 4837"/>
                <a:gd name="T4" fmla="*/ 786 w 1214"/>
                <a:gd name="T5" fmla="*/ 49 h 4837"/>
                <a:gd name="T6" fmla="*/ 837 w 1214"/>
                <a:gd name="T7" fmla="*/ 87 h 4837"/>
                <a:gd name="T8" fmla="*/ 879 w 1214"/>
                <a:gd name="T9" fmla="*/ 133 h 4837"/>
                <a:gd name="T10" fmla="*/ 912 w 1214"/>
                <a:gd name="T11" fmla="*/ 188 h 4837"/>
                <a:gd name="T12" fmla="*/ 935 w 1214"/>
                <a:gd name="T13" fmla="*/ 249 h 4837"/>
                <a:gd name="T14" fmla="*/ 945 w 1214"/>
                <a:gd name="T15" fmla="*/ 315 h 4837"/>
                <a:gd name="T16" fmla="*/ 975 w 1214"/>
                <a:gd name="T17" fmla="*/ 3747 h 4837"/>
                <a:gd name="T18" fmla="*/ 1030 w 1214"/>
                <a:gd name="T19" fmla="*/ 3794 h 4837"/>
                <a:gd name="T20" fmla="*/ 1080 w 1214"/>
                <a:gd name="T21" fmla="*/ 3848 h 4837"/>
                <a:gd name="T22" fmla="*/ 1122 w 1214"/>
                <a:gd name="T23" fmla="*/ 3908 h 4837"/>
                <a:gd name="T24" fmla="*/ 1157 w 1214"/>
                <a:gd name="T25" fmla="*/ 3973 h 4837"/>
                <a:gd name="T26" fmla="*/ 1184 w 1214"/>
                <a:gd name="T27" fmla="*/ 4042 h 4837"/>
                <a:gd name="T28" fmla="*/ 1203 w 1214"/>
                <a:gd name="T29" fmla="*/ 4114 h 4837"/>
                <a:gd name="T30" fmla="*/ 1213 w 1214"/>
                <a:gd name="T31" fmla="*/ 4191 h 4837"/>
                <a:gd name="T32" fmla="*/ 1210 w 1214"/>
                <a:gd name="T33" fmla="*/ 4292 h 4837"/>
                <a:gd name="T34" fmla="*/ 1187 w 1214"/>
                <a:gd name="T35" fmla="*/ 4410 h 4837"/>
                <a:gd name="T36" fmla="*/ 1140 w 1214"/>
                <a:gd name="T37" fmla="*/ 4519 h 4837"/>
                <a:gd name="T38" fmla="*/ 1075 w 1214"/>
                <a:gd name="T39" fmla="*/ 4616 h 4837"/>
                <a:gd name="T40" fmla="*/ 993 w 1214"/>
                <a:gd name="T41" fmla="*/ 4698 h 4837"/>
                <a:gd name="T42" fmla="*/ 896 w 1214"/>
                <a:gd name="T43" fmla="*/ 4764 h 4837"/>
                <a:gd name="T44" fmla="*/ 787 w 1214"/>
                <a:gd name="T45" fmla="*/ 4810 h 4837"/>
                <a:gd name="T46" fmla="*/ 668 w 1214"/>
                <a:gd name="T47" fmla="*/ 4834 h 4837"/>
                <a:gd name="T48" fmla="*/ 544 w 1214"/>
                <a:gd name="T49" fmla="*/ 4834 h 4837"/>
                <a:gd name="T50" fmla="*/ 426 w 1214"/>
                <a:gd name="T51" fmla="*/ 4810 h 4837"/>
                <a:gd name="T52" fmla="*/ 317 w 1214"/>
                <a:gd name="T53" fmla="*/ 4764 h 4837"/>
                <a:gd name="T54" fmla="*/ 220 w 1214"/>
                <a:gd name="T55" fmla="*/ 4698 h 4837"/>
                <a:gd name="T56" fmla="*/ 138 w 1214"/>
                <a:gd name="T57" fmla="*/ 4616 h 4837"/>
                <a:gd name="T58" fmla="*/ 72 w 1214"/>
                <a:gd name="T59" fmla="*/ 4519 h 4837"/>
                <a:gd name="T60" fmla="*/ 27 w 1214"/>
                <a:gd name="T61" fmla="*/ 4410 h 4837"/>
                <a:gd name="T62" fmla="*/ 2 w 1214"/>
                <a:gd name="T63" fmla="*/ 4292 h 4837"/>
                <a:gd name="T64" fmla="*/ 1 w 1214"/>
                <a:gd name="T65" fmla="*/ 4190 h 4837"/>
                <a:gd name="T66" fmla="*/ 11 w 1214"/>
                <a:gd name="T67" fmla="*/ 4111 h 4837"/>
                <a:gd name="T68" fmla="*/ 31 w 1214"/>
                <a:gd name="T69" fmla="*/ 4036 h 4837"/>
                <a:gd name="T70" fmla="*/ 60 w 1214"/>
                <a:gd name="T71" fmla="*/ 3965 h 4837"/>
                <a:gd name="T72" fmla="*/ 97 w 1214"/>
                <a:gd name="T73" fmla="*/ 3899 h 4837"/>
                <a:gd name="T74" fmla="*/ 142 w 1214"/>
                <a:gd name="T75" fmla="*/ 3839 h 4837"/>
                <a:gd name="T76" fmla="*/ 194 w 1214"/>
                <a:gd name="T77" fmla="*/ 3784 h 4837"/>
                <a:gd name="T78" fmla="*/ 252 w 1214"/>
                <a:gd name="T79" fmla="*/ 3736 h 4837"/>
                <a:gd name="T80" fmla="*/ 285 w 1214"/>
                <a:gd name="T81" fmla="*/ 315 h 4837"/>
                <a:gd name="T82" fmla="*/ 295 w 1214"/>
                <a:gd name="T83" fmla="*/ 249 h 4837"/>
                <a:gd name="T84" fmla="*/ 316 w 1214"/>
                <a:gd name="T85" fmla="*/ 188 h 4837"/>
                <a:gd name="T86" fmla="*/ 350 w 1214"/>
                <a:gd name="T87" fmla="*/ 133 h 4837"/>
                <a:gd name="T88" fmla="*/ 393 w 1214"/>
                <a:gd name="T89" fmla="*/ 87 h 4837"/>
                <a:gd name="T90" fmla="*/ 444 w 1214"/>
                <a:gd name="T91" fmla="*/ 49 h 4837"/>
                <a:gd name="T92" fmla="*/ 501 w 1214"/>
                <a:gd name="T93" fmla="*/ 21 h 4837"/>
                <a:gd name="T94" fmla="*/ 565 w 1214"/>
                <a:gd name="T95" fmla="*/ 5 h 4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4" h="4837">
                  <a:moveTo>
                    <a:pt x="614" y="0"/>
                  </a:moveTo>
                  <a:lnTo>
                    <a:pt x="632" y="1"/>
                  </a:lnTo>
                  <a:lnTo>
                    <a:pt x="648" y="3"/>
                  </a:lnTo>
                  <a:lnTo>
                    <a:pt x="665" y="5"/>
                  </a:lnTo>
                  <a:lnTo>
                    <a:pt x="681" y="7"/>
                  </a:lnTo>
                  <a:lnTo>
                    <a:pt x="696" y="11"/>
                  </a:lnTo>
                  <a:lnTo>
                    <a:pt x="713" y="16"/>
                  </a:lnTo>
                  <a:lnTo>
                    <a:pt x="728" y="21"/>
                  </a:lnTo>
                  <a:lnTo>
                    <a:pt x="743" y="26"/>
                  </a:lnTo>
                  <a:lnTo>
                    <a:pt x="758" y="34"/>
                  </a:lnTo>
                  <a:lnTo>
                    <a:pt x="772" y="40"/>
                  </a:lnTo>
                  <a:lnTo>
                    <a:pt x="786" y="49"/>
                  </a:lnTo>
                  <a:lnTo>
                    <a:pt x="799" y="58"/>
                  </a:lnTo>
                  <a:lnTo>
                    <a:pt x="812" y="66"/>
                  </a:lnTo>
                  <a:lnTo>
                    <a:pt x="825" y="76"/>
                  </a:lnTo>
                  <a:lnTo>
                    <a:pt x="837" y="87"/>
                  </a:lnTo>
                  <a:lnTo>
                    <a:pt x="847" y="98"/>
                  </a:lnTo>
                  <a:lnTo>
                    <a:pt x="859" y="109"/>
                  </a:lnTo>
                  <a:lnTo>
                    <a:pt x="869" y="121"/>
                  </a:lnTo>
                  <a:lnTo>
                    <a:pt x="879" y="133"/>
                  </a:lnTo>
                  <a:lnTo>
                    <a:pt x="889" y="146"/>
                  </a:lnTo>
                  <a:lnTo>
                    <a:pt x="897" y="160"/>
                  </a:lnTo>
                  <a:lnTo>
                    <a:pt x="905" y="174"/>
                  </a:lnTo>
                  <a:lnTo>
                    <a:pt x="912" y="188"/>
                  </a:lnTo>
                  <a:lnTo>
                    <a:pt x="919" y="202"/>
                  </a:lnTo>
                  <a:lnTo>
                    <a:pt x="925" y="217"/>
                  </a:lnTo>
                  <a:lnTo>
                    <a:pt x="930" y="234"/>
                  </a:lnTo>
                  <a:lnTo>
                    <a:pt x="935" y="249"/>
                  </a:lnTo>
                  <a:lnTo>
                    <a:pt x="938" y="265"/>
                  </a:lnTo>
                  <a:lnTo>
                    <a:pt x="941" y="281"/>
                  </a:lnTo>
                  <a:lnTo>
                    <a:pt x="944" y="297"/>
                  </a:lnTo>
                  <a:lnTo>
                    <a:pt x="945" y="315"/>
                  </a:lnTo>
                  <a:lnTo>
                    <a:pt x="945" y="331"/>
                  </a:lnTo>
                  <a:lnTo>
                    <a:pt x="945" y="3725"/>
                  </a:lnTo>
                  <a:lnTo>
                    <a:pt x="960" y="3736"/>
                  </a:lnTo>
                  <a:lnTo>
                    <a:pt x="975" y="3747"/>
                  </a:lnTo>
                  <a:lnTo>
                    <a:pt x="989" y="3758"/>
                  </a:lnTo>
                  <a:lnTo>
                    <a:pt x="1003" y="3770"/>
                  </a:lnTo>
                  <a:lnTo>
                    <a:pt x="1017" y="3781"/>
                  </a:lnTo>
                  <a:lnTo>
                    <a:pt x="1030" y="3794"/>
                  </a:lnTo>
                  <a:lnTo>
                    <a:pt x="1043" y="3807"/>
                  </a:lnTo>
                  <a:lnTo>
                    <a:pt x="1056" y="3820"/>
                  </a:lnTo>
                  <a:lnTo>
                    <a:pt x="1068" y="3834"/>
                  </a:lnTo>
                  <a:lnTo>
                    <a:pt x="1080" y="3848"/>
                  </a:lnTo>
                  <a:lnTo>
                    <a:pt x="1090" y="3862"/>
                  </a:lnTo>
                  <a:lnTo>
                    <a:pt x="1101" y="3878"/>
                  </a:lnTo>
                  <a:lnTo>
                    <a:pt x="1112" y="3893"/>
                  </a:lnTo>
                  <a:lnTo>
                    <a:pt x="1122" y="3908"/>
                  </a:lnTo>
                  <a:lnTo>
                    <a:pt x="1132" y="3923"/>
                  </a:lnTo>
                  <a:lnTo>
                    <a:pt x="1140" y="3939"/>
                  </a:lnTo>
                  <a:lnTo>
                    <a:pt x="1149" y="3955"/>
                  </a:lnTo>
                  <a:lnTo>
                    <a:pt x="1157" y="3973"/>
                  </a:lnTo>
                  <a:lnTo>
                    <a:pt x="1165" y="3989"/>
                  </a:lnTo>
                  <a:lnTo>
                    <a:pt x="1171" y="4006"/>
                  </a:lnTo>
                  <a:lnTo>
                    <a:pt x="1178" y="4023"/>
                  </a:lnTo>
                  <a:lnTo>
                    <a:pt x="1184" y="4042"/>
                  </a:lnTo>
                  <a:lnTo>
                    <a:pt x="1190" y="4059"/>
                  </a:lnTo>
                  <a:lnTo>
                    <a:pt x="1195" y="4077"/>
                  </a:lnTo>
                  <a:lnTo>
                    <a:pt x="1200" y="4096"/>
                  </a:lnTo>
                  <a:lnTo>
                    <a:pt x="1203" y="4114"/>
                  </a:lnTo>
                  <a:lnTo>
                    <a:pt x="1206" y="4134"/>
                  </a:lnTo>
                  <a:lnTo>
                    <a:pt x="1209" y="4152"/>
                  </a:lnTo>
                  <a:lnTo>
                    <a:pt x="1211" y="4171"/>
                  </a:lnTo>
                  <a:lnTo>
                    <a:pt x="1213" y="4191"/>
                  </a:lnTo>
                  <a:lnTo>
                    <a:pt x="1214" y="4210"/>
                  </a:lnTo>
                  <a:lnTo>
                    <a:pt x="1214" y="4230"/>
                  </a:lnTo>
                  <a:lnTo>
                    <a:pt x="1214" y="4261"/>
                  </a:lnTo>
                  <a:lnTo>
                    <a:pt x="1210" y="4292"/>
                  </a:lnTo>
                  <a:lnTo>
                    <a:pt x="1207" y="4323"/>
                  </a:lnTo>
                  <a:lnTo>
                    <a:pt x="1202" y="4352"/>
                  </a:lnTo>
                  <a:lnTo>
                    <a:pt x="1195" y="4382"/>
                  </a:lnTo>
                  <a:lnTo>
                    <a:pt x="1187" y="4410"/>
                  </a:lnTo>
                  <a:lnTo>
                    <a:pt x="1177" y="4438"/>
                  </a:lnTo>
                  <a:lnTo>
                    <a:pt x="1166" y="4466"/>
                  </a:lnTo>
                  <a:lnTo>
                    <a:pt x="1154" y="4493"/>
                  </a:lnTo>
                  <a:lnTo>
                    <a:pt x="1140" y="4519"/>
                  </a:lnTo>
                  <a:lnTo>
                    <a:pt x="1126" y="4545"/>
                  </a:lnTo>
                  <a:lnTo>
                    <a:pt x="1110" y="4569"/>
                  </a:lnTo>
                  <a:lnTo>
                    <a:pt x="1094" y="4594"/>
                  </a:lnTo>
                  <a:lnTo>
                    <a:pt x="1075" y="4616"/>
                  </a:lnTo>
                  <a:lnTo>
                    <a:pt x="1056" y="4638"/>
                  </a:lnTo>
                  <a:lnTo>
                    <a:pt x="1036" y="4660"/>
                  </a:lnTo>
                  <a:lnTo>
                    <a:pt x="1015" y="4679"/>
                  </a:lnTo>
                  <a:lnTo>
                    <a:pt x="993" y="4698"/>
                  </a:lnTo>
                  <a:lnTo>
                    <a:pt x="970" y="4717"/>
                  </a:lnTo>
                  <a:lnTo>
                    <a:pt x="946" y="4733"/>
                  </a:lnTo>
                  <a:lnTo>
                    <a:pt x="922" y="4749"/>
                  </a:lnTo>
                  <a:lnTo>
                    <a:pt x="896" y="4764"/>
                  </a:lnTo>
                  <a:lnTo>
                    <a:pt x="870" y="4777"/>
                  </a:lnTo>
                  <a:lnTo>
                    <a:pt x="843" y="4789"/>
                  </a:lnTo>
                  <a:lnTo>
                    <a:pt x="815" y="4800"/>
                  </a:lnTo>
                  <a:lnTo>
                    <a:pt x="787" y="4810"/>
                  </a:lnTo>
                  <a:lnTo>
                    <a:pt x="758" y="4818"/>
                  </a:lnTo>
                  <a:lnTo>
                    <a:pt x="729" y="4825"/>
                  </a:lnTo>
                  <a:lnTo>
                    <a:pt x="700" y="4830"/>
                  </a:lnTo>
                  <a:lnTo>
                    <a:pt x="668" y="4834"/>
                  </a:lnTo>
                  <a:lnTo>
                    <a:pt x="638" y="4837"/>
                  </a:lnTo>
                  <a:lnTo>
                    <a:pt x="607" y="4837"/>
                  </a:lnTo>
                  <a:lnTo>
                    <a:pt x="575" y="4837"/>
                  </a:lnTo>
                  <a:lnTo>
                    <a:pt x="544" y="4834"/>
                  </a:lnTo>
                  <a:lnTo>
                    <a:pt x="514" y="4830"/>
                  </a:lnTo>
                  <a:lnTo>
                    <a:pt x="485" y="4825"/>
                  </a:lnTo>
                  <a:lnTo>
                    <a:pt x="454" y="4818"/>
                  </a:lnTo>
                  <a:lnTo>
                    <a:pt x="426" y="4810"/>
                  </a:lnTo>
                  <a:lnTo>
                    <a:pt x="398" y="4800"/>
                  </a:lnTo>
                  <a:lnTo>
                    <a:pt x="370" y="4789"/>
                  </a:lnTo>
                  <a:lnTo>
                    <a:pt x="343" y="4777"/>
                  </a:lnTo>
                  <a:lnTo>
                    <a:pt x="317" y="4764"/>
                  </a:lnTo>
                  <a:lnTo>
                    <a:pt x="291" y="4749"/>
                  </a:lnTo>
                  <a:lnTo>
                    <a:pt x="267" y="4733"/>
                  </a:lnTo>
                  <a:lnTo>
                    <a:pt x="243" y="4717"/>
                  </a:lnTo>
                  <a:lnTo>
                    <a:pt x="220" y="4698"/>
                  </a:lnTo>
                  <a:lnTo>
                    <a:pt x="198" y="4679"/>
                  </a:lnTo>
                  <a:lnTo>
                    <a:pt x="177" y="4660"/>
                  </a:lnTo>
                  <a:lnTo>
                    <a:pt x="157" y="4638"/>
                  </a:lnTo>
                  <a:lnTo>
                    <a:pt x="138" y="4616"/>
                  </a:lnTo>
                  <a:lnTo>
                    <a:pt x="120" y="4594"/>
                  </a:lnTo>
                  <a:lnTo>
                    <a:pt x="103" y="4569"/>
                  </a:lnTo>
                  <a:lnTo>
                    <a:pt x="87" y="4545"/>
                  </a:lnTo>
                  <a:lnTo>
                    <a:pt x="72" y="4519"/>
                  </a:lnTo>
                  <a:lnTo>
                    <a:pt x="59" y="4493"/>
                  </a:lnTo>
                  <a:lnTo>
                    <a:pt x="47" y="4466"/>
                  </a:lnTo>
                  <a:lnTo>
                    <a:pt x="36" y="4438"/>
                  </a:lnTo>
                  <a:lnTo>
                    <a:pt x="27" y="4410"/>
                  </a:lnTo>
                  <a:lnTo>
                    <a:pt x="18" y="4382"/>
                  </a:lnTo>
                  <a:lnTo>
                    <a:pt x="12" y="4352"/>
                  </a:lnTo>
                  <a:lnTo>
                    <a:pt x="6" y="4323"/>
                  </a:lnTo>
                  <a:lnTo>
                    <a:pt x="2" y="4292"/>
                  </a:lnTo>
                  <a:lnTo>
                    <a:pt x="0" y="4261"/>
                  </a:lnTo>
                  <a:lnTo>
                    <a:pt x="0" y="4230"/>
                  </a:lnTo>
                  <a:lnTo>
                    <a:pt x="0" y="4209"/>
                  </a:lnTo>
                  <a:lnTo>
                    <a:pt x="1" y="4190"/>
                  </a:lnTo>
                  <a:lnTo>
                    <a:pt x="2" y="4169"/>
                  </a:lnTo>
                  <a:lnTo>
                    <a:pt x="4" y="4150"/>
                  </a:lnTo>
                  <a:lnTo>
                    <a:pt x="7" y="4130"/>
                  </a:lnTo>
                  <a:lnTo>
                    <a:pt x="11" y="4111"/>
                  </a:lnTo>
                  <a:lnTo>
                    <a:pt x="15" y="4091"/>
                  </a:lnTo>
                  <a:lnTo>
                    <a:pt x="19" y="4073"/>
                  </a:lnTo>
                  <a:lnTo>
                    <a:pt x="25" y="4055"/>
                  </a:lnTo>
                  <a:lnTo>
                    <a:pt x="31" y="4036"/>
                  </a:lnTo>
                  <a:lnTo>
                    <a:pt x="38" y="4018"/>
                  </a:lnTo>
                  <a:lnTo>
                    <a:pt x="44" y="4000"/>
                  </a:lnTo>
                  <a:lnTo>
                    <a:pt x="52" y="3982"/>
                  </a:lnTo>
                  <a:lnTo>
                    <a:pt x="60" y="3965"/>
                  </a:lnTo>
                  <a:lnTo>
                    <a:pt x="69" y="3948"/>
                  </a:lnTo>
                  <a:lnTo>
                    <a:pt x="78" y="3932"/>
                  </a:lnTo>
                  <a:lnTo>
                    <a:pt x="87" y="3915"/>
                  </a:lnTo>
                  <a:lnTo>
                    <a:pt x="97" y="3899"/>
                  </a:lnTo>
                  <a:lnTo>
                    <a:pt x="108" y="3883"/>
                  </a:lnTo>
                  <a:lnTo>
                    <a:pt x="119" y="3868"/>
                  </a:lnTo>
                  <a:lnTo>
                    <a:pt x="130" y="3853"/>
                  </a:lnTo>
                  <a:lnTo>
                    <a:pt x="142" y="3839"/>
                  </a:lnTo>
                  <a:lnTo>
                    <a:pt x="154" y="3824"/>
                  </a:lnTo>
                  <a:lnTo>
                    <a:pt x="167" y="3811"/>
                  </a:lnTo>
                  <a:lnTo>
                    <a:pt x="180" y="3797"/>
                  </a:lnTo>
                  <a:lnTo>
                    <a:pt x="194" y="3784"/>
                  </a:lnTo>
                  <a:lnTo>
                    <a:pt x="208" y="3772"/>
                  </a:lnTo>
                  <a:lnTo>
                    <a:pt x="222" y="3759"/>
                  </a:lnTo>
                  <a:lnTo>
                    <a:pt x="237" y="3747"/>
                  </a:lnTo>
                  <a:lnTo>
                    <a:pt x="252" y="3736"/>
                  </a:lnTo>
                  <a:lnTo>
                    <a:pt x="268" y="3725"/>
                  </a:lnTo>
                  <a:lnTo>
                    <a:pt x="284" y="3715"/>
                  </a:lnTo>
                  <a:lnTo>
                    <a:pt x="284" y="331"/>
                  </a:lnTo>
                  <a:lnTo>
                    <a:pt x="285" y="315"/>
                  </a:lnTo>
                  <a:lnTo>
                    <a:pt x="286" y="297"/>
                  </a:lnTo>
                  <a:lnTo>
                    <a:pt x="288" y="281"/>
                  </a:lnTo>
                  <a:lnTo>
                    <a:pt x="290" y="265"/>
                  </a:lnTo>
                  <a:lnTo>
                    <a:pt x="295" y="249"/>
                  </a:lnTo>
                  <a:lnTo>
                    <a:pt x="299" y="234"/>
                  </a:lnTo>
                  <a:lnTo>
                    <a:pt x="304" y="217"/>
                  </a:lnTo>
                  <a:lnTo>
                    <a:pt x="310" y="202"/>
                  </a:lnTo>
                  <a:lnTo>
                    <a:pt x="316" y="188"/>
                  </a:lnTo>
                  <a:lnTo>
                    <a:pt x="324" y="174"/>
                  </a:lnTo>
                  <a:lnTo>
                    <a:pt x="332" y="160"/>
                  </a:lnTo>
                  <a:lnTo>
                    <a:pt x="341" y="146"/>
                  </a:lnTo>
                  <a:lnTo>
                    <a:pt x="350" y="133"/>
                  </a:lnTo>
                  <a:lnTo>
                    <a:pt x="359" y="121"/>
                  </a:lnTo>
                  <a:lnTo>
                    <a:pt x="370" y="109"/>
                  </a:lnTo>
                  <a:lnTo>
                    <a:pt x="381" y="98"/>
                  </a:lnTo>
                  <a:lnTo>
                    <a:pt x="393" y="87"/>
                  </a:lnTo>
                  <a:lnTo>
                    <a:pt x="405" y="76"/>
                  </a:lnTo>
                  <a:lnTo>
                    <a:pt x="417" y="66"/>
                  </a:lnTo>
                  <a:lnTo>
                    <a:pt x="430" y="58"/>
                  </a:lnTo>
                  <a:lnTo>
                    <a:pt x="444" y="49"/>
                  </a:lnTo>
                  <a:lnTo>
                    <a:pt x="458" y="40"/>
                  </a:lnTo>
                  <a:lnTo>
                    <a:pt x="472" y="34"/>
                  </a:lnTo>
                  <a:lnTo>
                    <a:pt x="486" y="26"/>
                  </a:lnTo>
                  <a:lnTo>
                    <a:pt x="501" y="21"/>
                  </a:lnTo>
                  <a:lnTo>
                    <a:pt x="516" y="16"/>
                  </a:lnTo>
                  <a:lnTo>
                    <a:pt x="532" y="11"/>
                  </a:lnTo>
                  <a:lnTo>
                    <a:pt x="548" y="7"/>
                  </a:lnTo>
                  <a:lnTo>
                    <a:pt x="565" y="5"/>
                  </a:lnTo>
                  <a:lnTo>
                    <a:pt x="581" y="3"/>
                  </a:lnTo>
                  <a:lnTo>
                    <a:pt x="598" y="1"/>
                  </a:lnTo>
                  <a:lnTo>
                    <a:pt x="61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41" name="Freeform 16"/>
            <p:cNvSpPr>
              <a:spLocks/>
            </p:cNvSpPr>
            <p:nvPr/>
          </p:nvSpPr>
          <p:spPr bwMode="auto">
            <a:xfrm>
              <a:off x="7284353" y="3310446"/>
              <a:ext cx="627126" cy="1949651"/>
            </a:xfrm>
            <a:custGeom>
              <a:avLst/>
              <a:gdLst>
                <a:gd name="T0" fmla="*/ 722 w 992"/>
                <a:gd name="T1" fmla="*/ 2148 h 3084"/>
                <a:gd name="T2" fmla="*/ 766 w 992"/>
                <a:gd name="T3" fmla="*/ 2173 h 3084"/>
                <a:gd name="T4" fmla="*/ 806 w 992"/>
                <a:gd name="T5" fmla="*/ 2202 h 3084"/>
                <a:gd name="T6" fmla="*/ 844 w 992"/>
                <a:gd name="T7" fmla="*/ 2236 h 3084"/>
                <a:gd name="T8" fmla="*/ 878 w 992"/>
                <a:gd name="T9" fmla="*/ 2272 h 3084"/>
                <a:gd name="T10" fmla="*/ 908 w 992"/>
                <a:gd name="T11" fmla="*/ 2313 h 3084"/>
                <a:gd name="T12" fmla="*/ 934 w 992"/>
                <a:gd name="T13" fmla="*/ 2356 h 3084"/>
                <a:gd name="T14" fmla="*/ 955 w 992"/>
                <a:gd name="T15" fmla="*/ 2402 h 3084"/>
                <a:gd name="T16" fmla="*/ 972 w 992"/>
                <a:gd name="T17" fmla="*/ 2450 h 3084"/>
                <a:gd name="T18" fmla="*/ 983 w 992"/>
                <a:gd name="T19" fmla="*/ 2501 h 3084"/>
                <a:gd name="T20" fmla="*/ 990 w 992"/>
                <a:gd name="T21" fmla="*/ 2553 h 3084"/>
                <a:gd name="T22" fmla="*/ 991 w 992"/>
                <a:gd name="T23" fmla="*/ 2615 h 3084"/>
                <a:gd name="T24" fmla="*/ 981 w 992"/>
                <a:gd name="T25" fmla="*/ 2689 h 3084"/>
                <a:gd name="T26" fmla="*/ 962 w 992"/>
                <a:gd name="T27" fmla="*/ 2759 h 3084"/>
                <a:gd name="T28" fmla="*/ 932 w 992"/>
                <a:gd name="T29" fmla="*/ 2825 h 3084"/>
                <a:gd name="T30" fmla="*/ 893 w 992"/>
                <a:gd name="T31" fmla="*/ 2886 h 3084"/>
                <a:gd name="T32" fmla="*/ 846 w 992"/>
                <a:gd name="T33" fmla="*/ 2940 h 3084"/>
                <a:gd name="T34" fmla="*/ 792 w 992"/>
                <a:gd name="T35" fmla="*/ 2986 h 3084"/>
                <a:gd name="T36" fmla="*/ 732 w 992"/>
                <a:gd name="T37" fmla="*/ 3025 h 3084"/>
                <a:gd name="T38" fmla="*/ 666 w 992"/>
                <a:gd name="T39" fmla="*/ 3054 h 3084"/>
                <a:gd name="T40" fmla="*/ 596 w 992"/>
                <a:gd name="T41" fmla="*/ 3075 h 3084"/>
                <a:gd name="T42" fmla="*/ 521 w 992"/>
                <a:gd name="T43" fmla="*/ 3083 h 3084"/>
                <a:gd name="T44" fmla="*/ 446 w 992"/>
                <a:gd name="T45" fmla="*/ 3082 h 3084"/>
                <a:gd name="T46" fmla="*/ 372 w 992"/>
                <a:gd name="T47" fmla="*/ 3069 h 3084"/>
                <a:gd name="T48" fmla="*/ 303 w 992"/>
                <a:gd name="T49" fmla="*/ 3046 h 3084"/>
                <a:gd name="T50" fmla="*/ 238 w 992"/>
                <a:gd name="T51" fmla="*/ 3013 h 3084"/>
                <a:gd name="T52" fmla="*/ 181 w 992"/>
                <a:gd name="T53" fmla="*/ 2971 h 3084"/>
                <a:gd name="T54" fmla="*/ 129 w 992"/>
                <a:gd name="T55" fmla="*/ 2922 h 3084"/>
                <a:gd name="T56" fmla="*/ 85 w 992"/>
                <a:gd name="T57" fmla="*/ 2866 h 3084"/>
                <a:gd name="T58" fmla="*/ 49 w 992"/>
                <a:gd name="T59" fmla="*/ 2804 h 3084"/>
                <a:gd name="T60" fmla="*/ 22 w 992"/>
                <a:gd name="T61" fmla="*/ 2737 h 3084"/>
                <a:gd name="T62" fmla="*/ 6 w 992"/>
                <a:gd name="T63" fmla="*/ 2664 h 3084"/>
                <a:gd name="T64" fmla="*/ 0 w 992"/>
                <a:gd name="T65" fmla="*/ 2589 h 3084"/>
                <a:gd name="T66" fmla="*/ 3 w 992"/>
                <a:gd name="T67" fmla="*/ 2536 h 3084"/>
                <a:gd name="T68" fmla="*/ 12 w 992"/>
                <a:gd name="T69" fmla="*/ 2484 h 3084"/>
                <a:gd name="T70" fmla="*/ 25 w 992"/>
                <a:gd name="T71" fmla="*/ 2434 h 3084"/>
                <a:gd name="T72" fmla="*/ 43 w 992"/>
                <a:gd name="T73" fmla="*/ 2387 h 3084"/>
                <a:gd name="T74" fmla="*/ 67 w 992"/>
                <a:gd name="T75" fmla="*/ 2341 h 3084"/>
                <a:gd name="T76" fmla="*/ 94 w 992"/>
                <a:gd name="T77" fmla="*/ 2299 h 3084"/>
                <a:gd name="T78" fmla="*/ 125 w 992"/>
                <a:gd name="T79" fmla="*/ 2260 h 3084"/>
                <a:gd name="T80" fmla="*/ 160 w 992"/>
                <a:gd name="T81" fmla="*/ 2225 h 3084"/>
                <a:gd name="T82" fmla="*/ 198 w 992"/>
                <a:gd name="T83" fmla="*/ 2192 h 3084"/>
                <a:gd name="T84" fmla="*/ 239 w 992"/>
                <a:gd name="T85" fmla="*/ 2164 h 3084"/>
                <a:gd name="T86" fmla="*/ 270 w 992"/>
                <a:gd name="T87" fmla="*/ 0 h 3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2" h="3084">
                  <a:moveTo>
                    <a:pt x="270" y="0"/>
                  </a:moveTo>
                  <a:lnTo>
                    <a:pt x="722" y="0"/>
                  </a:lnTo>
                  <a:lnTo>
                    <a:pt x="722" y="2148"/>
                  </a:lnTo>
                  <a:lnTo>
                    <a:pt x="737" y="2156"/>
                  </a:lnTo>
                  <a:lnTo>
                    <a:pt x="752" y="2164"/>
                  </a:lnTo>
                  <a:lnTo>
                    <a:pt x="766" y="2173"/>
                  </a:lnTo>
                  <a:lnTo>
                    <a:pt x="780" y="2183"/>
                  </a:lnTo>
                  <a:lnTo>
                    <a:pt x="793" y="2192"/>
                  </a:lnTo>
                  <a:lnTo>
                    <a:pt x="806" y="2202"/>
                  </a:lnTo>
                  <a:lnTo>
                    <a:pt x="819" y="2213"/>
                  </a:lnTo>
                  <a:lnTo>
                    <a:pt x="832" y="2225"/>
                  </a:lnTo>
                  <a:lnTo>
                    <a:pt x="844" y="2236"/>
                  </a:lnTo>
                  <a:lnTo>
                    <a:pt x="856" y="2247"/>
                  </a:lnTo>
                  <a:lnTo>
                    <a:pt x="867" y="2260"/>
                  </a:lnTo>
                  <a:lnTo>
                    <a:pt x="878" y="2272"/>
                  </a:lnTo>
                  <a:lnTo>
                    <a:pt x="888" y="2286"/>
                  </a:lnTo>
                  <a:lnTo>
                    <a:pt x="898" y="2299"/>
                  </a:lnTo>
                  <a:lnTo>
                    <a:pt x="908" y="2313"/>
                  </a:lnTo>
                  <a:lnTo>
                    <a:pt x="918" y="2327"/>
                  </a:lnTo>
                  <a:lnTo>
                    <a:pt x="926" y="2341"/>
                  </a:lnTo>
                  <a:lnTo>
                    <a:pt x="934" y="2356"/>
                  </a:lnTo>
                  <a:lnTo>
                    <a:pt x="941" y="2372"/>
                  </a:lnTo>
                  <a:lnTo>
                    <a:pt x="949" y="2387"/>
                  </a:lnTo>
                  <a:lnTo>
                    <a:pt x="955" y="2402"/>
                  </a:lnTo>
                  <a:lnTo>
                    <a:pt x="962" y="2418"/>
                  </a:lnTo>
                  <a:lnTo>
                    <a:pt x="967" y="2434"/>
                  </a:lnTo>
                  <a:lnTo>
                    <a:pt x="972" y="2450"/>
                  </a:lnTo>
                  <a:lnTo>
                    <a:pt x="977" y="2467"/>
                  </a:lnTo>
                  <a:lnTo>
                    <a:pt x="980" y="2484"/>
                  </a:lnTo>
                  <a:lnTo>
                    <a:pt x="983" y="2501"/>
                  </a:lnTo>
                  <a:lnTo>
                    <a:pt x="987" y="2518"/>
                  </a:lnTo>
                  <a:lnTo>
                    <a:pt x="989" y="2536"/>
                  </a:lnTo>
                  <a:lnTo>
                    <a:pt x="990" y="2553"/>
                  </a:lnTo>
                  <a:lnTo>
                    <a:pt x="991" y="2570"/>
                  </a:lnTo>
                  <a:lnTo>
                    <a:pt x="992" y="2589"/>
                  </a:lnTo>
                  <a:lnTo>
                    <a:pt x="991" y="2615"/>
                  </a:lnTo>
                  <a:lnTo>
                    <a:pt x="989" y="2639"/>
                  </a:lnTo>
                  <a:lnTo>
                    <a:pt x="986" y="2664"/>
                  </a:lnTo>
                  <a:lnTo>
                    <a:pt x="981" y="2689"/>
                  </a:lnTo>
                  <a:lnTo>
                    <a:pt x="976" y="2713"/>
                  </a:lnTo>
                  <a:lnTo>
                    <a:pt x="969" y="2737"/>
                  </a:lnTo>
                  <a:lnTo>
                    <a:pt x="962" y="2759"/>
                  </a:lnTo>
                  <a:lnTo>
                    <a:pt x="953" y="2782"/>
                  </a:lnTo>
                  <a:lnTo>
                    <a:pt x="942" y="2804"/>
                  </a:lnTo>
                  <a:lnTo>
                    <a:pt x="932" y="2825"/>
                  </a:lnTo>
                  <a:lnTo>
                    <a:pt x="920" y="2846"/>
                  </a:lnTo>
                  <a:lnTo>
                    <a:pt x="907" y="2866"/>
                  </a:lnTo>
                  <a:lnTo>
                    <a:pt x="893" y="2886"/>
                  </a:lnTo>
                  <a:lnTo>
                    <a:pt x="879" y="2904"/>
                  </a:lnTo>
                  <a:lnTo>
                    <a:pt x="863" y="2922"/>
                  </a:lnTo>
                  <a:lnTo>
                    <a:pt x="846" y="2940"/>
                  </a:lnTo>
                  <a:lnTo>
                    <a:pt x="829" y="2956"/>
                  </a:lnTo>
                  <a:lnTo>
                    <a:pt x="812" y="2971"/>
                  </a:lnTo>
                  <a:lnTo>
                    <a:pt x="792" y="2986"/>
                  </a:lnTo>
                  <a:lnTo>
                    <a:pt x="773" y="3000"/>
                  </a:lnTo>
                  <a:lnTo>
                    <a:pt x="753" y="3013"/>
                  </a:lnTo>
                  <a:lnTo>
                    <a:pt x="732" y="3025"/>
                  </a:lnTo>
                  <a:lnTo>
                    <a:pt x="711" y="3036"/>
                  </a:lnTo>
                  <a:lnTo>
                    <a:pt x="689" y="3046"/>
                  </a:lnTo>
                  <a:lnTo>
                    <a:pt x="666" y="3054"/>
                  </a:lnTo>
                  <a:lnTo>
                    <a:pt x="643" y="3062"/>
                  </a:lnTo>
                  <a:lnTo>
                    <a:pt x="620" y="3069"/>
                  </a:lnTo>
                  <a:lnTo>
                    <a:pt x="596" y="3075"/>
                  </a:lnTo>
                  <a:lnTo>
                    <a:pt x="571" y="3079"/>
                  </a:lnTo>
                  <a:lnTo>
                    <a:pt x="546" y="3082"/>
                  </a:lnTo>
                  <a:lnTo>
                    <a:pt x="521" y="3083"/>
                  </a:lnTo>
                  <a:lnTo>
                    <a:pt x="496" y="3084"/>
                  </a:lnTo>
                  <a:lnTo>
                    <a:pt x="471" y="3083"/>
                  </a:lnTo>
                  <a:lnTo>
                    <a:pt x="446" y="3082"/>
                  </a:lnTo>
                  <a:lnTo>
                    <a:pt x="421" y="3079"/>
                  </a:lnTo>
                  <a:lnTo>
                    <a:pt x="396" y="3075"/>
                  </a:lnTo>
                  <a:lnTo>
                    <a:pt x="372" y="3069"/>
                  </a:lnTo>
                  <a:lnTo>
                    <a:pt x="348" y="3062"/>
                  </a:lnTo>
                  <a:lnTo>
                    <a:pt x="326" y="3054"/>
                  </a:lnTo>
                  <a:lnTo>
                    <a:pt x="303" y="3046"/>
                  </a:lnTo>
                  <a:lnTo>
                    <a:pt x="282" y="3036"/>
                  </a:lnTo>
                  <a:lnTo>
                    <a:pt x="260" y="3025"/>
                  </a:lnTo>
                  <a:lnTo>
                    <a:pt x="238" y="3013"/>
                  </a:lnTo>
                  <a:lnTo>
                    <a:pt x="219" y="3000"/>
                  </a:lnTo>
                  <a:lnTo>
                    <a:pt x="199" y="2986"/>
                  </a:lnTo>
                  <a:lnTo>
                    <a:pt x="181" y="2971"/>
                  </a:lnTo>
                  <a:lnTo>
                    <a:pt x="163" y="2956"/>
                  </a:lnTo>
                  <a:lnTo>
                    <a:pt x="145" y="2940"/>
                  </a:lnTo>
                  <a:lnTo>
                    <a:pt x="129" y="2922"/>
                  </a:lnTo>
                  <a:lnTo>
                    <a:pt x="113" y="2904"/>
                  </a:lnTo>
                  <a:lnTo>
                    <a:pt x="99" y="2886"/>
                  </a:lnTo>
                  <a:lnTo>
                    <a:pt x="85" y="2866"/>
                  </a:lnTo>
                  <a:lnTo>
                    <a:pt x="72" y="2846"/>
                  </a:lnTo>
                  <a:lnTo>
                    <a:pt x="60" y="2825"/>
                  </a:lnTo>
                  <a:lnTo>
                    <a:pt x="49" y="2804"/>
                  </a:lnTo>
                  <a:lnTo>
                    <a:pt x="40" y="2782"/>
                  </a:lnTo>
                  <a:lnTo>
                    <a:pt x="30" y="2759"/>
                  </a:lnTo>
                  <a:lnTo>
                    <a:pt x="22" y="2737"/>
                  </a:lnTo>
                  <a:lnTo>
                    <a:pt x="16" y="2713"/>
                  </a:lnTo>
                  <a:lnTo>
                    <a:pt x="10" y="2689"/>
                  </a:lnTo>
                  <a:lnTo>
                    <a:pt x="6" y="2664"/>
                  </a:lnTo>
                  <a:lnTo>
                    <a:pt x="3" y="2639"/>
                  </a:lnTo>
                  <a:lnTo>
                    <a:pt x="1" y="2615"/>
                  </a:lnTo>
                  <a:lnTo>
                    <a:pt x="0" y="2589"/>
                  </a:lnTo>
                  <a:lnTo>
                    <a:pt x="1" y="2570"/>
                  </a:lnTo>
                  <a:lnTo>
                    <a:pt x="2" y="2553"/>
                  </a:lnTo>
                  <a:lnTo>
                    <a:pt x="3" y="2536"/>
                  </a:lnTo>
                  <a:lnTo>
                    <a:pt x="5" y="2518"/>
                  </a:lnTo>
                  <a:lnTo>
                    <a:pt x="8" y="2501"/>
                  </a:lnTo>
                  <a:lnTo>
                    <a:pt x="12" y="2484"/>
                  </a:lnTo>
                  <a:lnTo>
                    <a:pt x="15" y="2467"/>
                  </a:lnTo>
                  <a:lnTo>
                    <a:pt x="20" y="2450"/>
                  </a:lnTo>
                  <a:lnTo>
                    <a:pt x="25" y="2434"/>
                  </a:lnTo>
                  <a:lnTo>
                    <a:pt x="30" y="2418"/>
                  </a:lnTo>
                  <a:lnTo>
                    <a:pt x="36" y="2402"/>
                  </a:lnTo>
                  <a:lnTo>
                    <a:pt x="43" y="2387"/>
                  </a:lnTo>
                  <a:lnTo>
                    <a:pt x="50" y="2372"/>
                  </a:lnTo>
                  <a:lnTo>
                    <a:pt x="58" y="2356"/>
                  </a:lnTo>
                  <a:lnTo>
                    <a:pt x="67" y="2341"/>
                  </a:lnTo>
                  <a:lnTo>
                    <a:pt x="75" y="2327"/>
                  </a:lnTo>
                  <a:lnTo>
                    <a:pt x="84" y="2313"/>
                  </a:lnTo>
                  <a:lnTo>
                    <a:pt x="94" y="2299"/>
                  </a:lnTo>
                  <a:lnTo>
                    <a:pt x="103" y="2286"/>
                  </a:lnTo>
                  <a:lnTo>
                    <a:pt x="114" y="2272"/>
                  </a:lnTo>
                  <a:lnTo>
                    <a:pt x="125" y="2260"/>
                  </a:lnTo>
                  <a:lnTo>
                    <a:pt x="136" y="2247"/>
                  </a:lnTo>
                  <a:lnTo>
                    <a:pt x="148" y="2236"/>
                  </a:lnTo>
                  <a:lnTo>
                    <a:pt x="160" y="2225"/>
                  </a:lnTo>
                  <a:lnTo>
                    <a:pt x="172" y="2213"/>
                  </a:lnTo>
                  <a:lnTo>
                    <a:pt x="185" y="2202"/>
                  </a:lnTo>
                  <a:lnTo>
                    <a:pt x="198" y="2192"/>
                  </a:lnTo>
                  <a:lnTo>
                    <a:pt x="211" y="2183"/>
                  </a:lnTo>
                  <a:lnTo>
                    <a:pt x="225" y="2173"/>
                  </a:lnTo>
                  <a:lnTo>
                    <a:pt x="239" y="2164"/>
                  </a:lnTo>
                  <a:lnTo>
                    <a:pt x="255" y="2156"/>
                  </a:lnTo>
                  <a:lnTo>
                    <a:pt x="270" y="2148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45" name="Freeform 19"/>
            <p:cNvSpPr>
              <a:spLocks noEditPoints="1"/>
            </p:cNvSpPr>
            <p:nvPr/>
          </p:nvSpPr>
          <p:spPr bwMode="auto">
            <a:xfrm>
              <a:off x="7023893" y="1891830"/>
              <a:ext cx="1211264" cy="531033"/>
            </a:xfrm>
            <a:custGeom>
              <a:avLst/>
              <a:gdLst>
                <a:gd name="T0" fmla="*/ 475 w 1915"/>
                <a:gd name="T1" fmla="*/ 484 h 840"/>
                <a:gd name="T2" fmla="*/ 441 w 1915"/>
                <a:gd name="T3" fmla="*/ 559 h 840"/>
                <a:gd name="T4" fmla="*/ 391 w 1915"/>
                <a:gd name="T5" fmla="*/ 619 h 840"/>
                <a:gd name="T6" fmla="*/ 313 w 1915"/>
                <a:gd name="T7" fmla="*/ 677 h 840"/>
                <a:gd name="T8" fmla="*/ 245 w 1915"/>
                <a:gd name="T9" fmla="*/ 700 h 840"/>
                <a:gd name="T10" fmla="*/ 180 w 1915"/>
                <a:gd name="T11" fmla="*/ 694 h 840"/>
                <a:gd name="T12" fmla="*/ 116 w 1915"/>
                <a:gd name="T13" fmla="*/ 665 h 840"/>
                <a:gd name="T14" fmla="*/ 59 w 1915"/>
                <a:gd name="T15" fmla="*/ 613 h 840"/>
                <a:gd name="T16" fmla="*/ 17 w 1915"/>
                <a:gd name="T17" fmla="*/ 545 h 840"/>
                <a:gd name="T18" fmla="*/ 0 w 1915"/>
                <a:gd name="T19" fmla="*/ 474 h 840"/>
                <a:gd name="T20" fmla="*/ 11 w 1915"/>
                <a:gd name="T21" fmla="*/ 404 h 840"/>
                <a:gd name="T22" fmla="*/ 46 w 1915"/>
                <a:gd name="T23" fmla="*/ 345 h 840"/>
                <a:gd name="T24" fmla="*/ 118 w 1915"/>
                <a:gd name="T25" fmla="*/ 278 h 840"/>
                <a:gd name="T26" fmla="*/ 182 w 1915"/>
                <a:gd name="T27" fmla="*/ 242 h 840"/>
                <a:gd name="T28" fmla="*/ 225 w 1915"/>
                <a:gd name="T29" fmla="*/ 233 h 840"/>
                <a:gd name="T30" fmla="*/ 268 w 1915"/>
                <a:gd name="T31" fmla="*/ 239 h 840"/>
                <a:gd name="T32" fmla="*/ 239 w 1915"/>
                <a:gd name="T33" fmla="*/ 363 h 840"/>
                <a:gd name="T34" fmla="*/ 184 w 1915"/>
                <a:gd name="T35" fmla="*/ 354 h 840"/>
                <a:gd name="T36" fmla="*/ 135 w 1915"/>
                <a:gd name="T37" fmla="*/ 386 h 840"/>
                <a:gd name="T38" fmla="*/ 118 w 1915"/>
                <a:gd name="T39" fmla="*/ 430 h 840"/>
                <a:gd name="T40" fmla="*/ 127 w 1915"/>
                <a:gd name="T41" fmla="*/ 482 h 840"/>
                <a:gd name="T42" fmla="*/ 169 w 1915"/>
                <a:gd name="T43" fmla="*/ 541 h 840"/>
                <a:gd name="T44" fmla="*/ 222 w 1915"/>
                <a:gd name="T45" fmla="*/ 581 h 840"/>
                <a:gd name="T46" fmla="*/ 269 w 1915"/>
                <a:gd name="T47" fmla="*/ 586 h 840"/>
                <a:gd name="T48" fmla="*/ 315 w 1915"/>
                <a:gd name="T49" fmla="*/ 563 h 840"/>
                <a:gd name="T50" fmla="*/ 348 w 1915"/>
                <a:gd name="T51" fmla="*/ 521 h 840"/>
                <a:gd name="T52" fmla="*/ 271 w 1915"/>
                <a:gd name="T53" fmla="*/ 511 h 840"/>
                <a:gd name="T54" fmla="*/ 553 w 1915"/>
                <a:gd name="T55" fmla="*/ 162 h 840"/>
                <a:gd name="T56" fmla="*/ 569 w 1915"/>
                <a:gd name="T57" fmla="*/ 113 h 840"/>
                <a:gd name="T58" fmla="*/ 598 w 1915"/>
                <a:gd name="T59" fmla="*/ 71 h 840"/>
                <a:gd name="T60" fmla="*/ 637 w 1915"/>
                <a:gd name="T61" fmla="*/ 39 h 840"/>
                <a:gd name="T62" fmla="*/ 735 w 1915"/>
                <a:gd name="T63" fmla="*/ 4 h 840"/>
                <a:gd name="T64" fmla="*/ 839 w 1915"/>
                <a:gd name="T65" fmla="*/ 6 h 840"/>
                <a:gd name="T66" fmla="*/ 887 w 1915"/>
                <a:gd name="T67" fmla="*/ 25 h 840"/>
                <a:gd name="T68" fmla="*/ 927 w 1915"/>
                <a:gd name="T69" fmla="*/ 55 h 840"/>
                <a:gd name="T70" fmla="*/ 957 w 1915"/>
                <a:gd name="T71" fmla="*/ 96 h 840"/>
                <a:gd name="T72" fmla="*/ 987 w 1915"/>
                <a:gd name="T73" fmla="*/ 201 h 840"/>
                <a:gd name="T74" fmla="*/ 986 w 1915"/>
                <a:gd name="T75" fmla="*/ 281 h 840"/>
                <a:gd name="T76" fmla="*/ 964 w 1915"/>
                <a:gd name="T77" fmla="*/ 342 h 840"/>
                <a:gd name="T78" fmla="*/ 920 w 1915"/>
                <a:gd name="T79" fmla="*/ 391 h 840"/>
                <a:gd name="T80" fmla="*/ 857 w 1915"/>
                <a:gd name="T81" fmla="*/ 424 h 840"/>
                <a:gd name="T82" fmla="*/ 774 w 1915"/>
                <a:gd name="T83" fmla="*/ 439 h 840"/>
                <a:gd name="T84" fmla="*/ 700 w 1915"/>
                <a:gd name="T85" fmla="*/ 435 h 840"/>
                <a:gd name="T86" fmla="*/ 641 w 1915"/>
                <a:gd name="T87" fmla="*/ 409 h 840"/>
                <a:gd name="T88" fmla="*/ 592 w 1915"/>
                <a:gd name="T89" fmla="*/ 361 h 840"/>
                <a:gd name="T90" fmla="*/ 561 w 1915"/>
                <a:gd name="T91" fmla="*/ 289 h 840"/>
                <a:gd name="T92" fmla="*/ 688 w 1915"/>
                <a:gd name="T93" fmla="*/ 264 h 840"/>
                <a:gd name="T94" fmla="*/ 713 w 1915"/>
                <a:gd name="T95" fmla="*/ 315 h 840"/>
                <a:gd name="T96" fmla="*/ 751 w 1915"/>
                <a:gd name="T97" fmla="*/ 339 h 840"/>
                <a:gd name="T98" fmla="*/ 798 w 1915"/>
                <a:gd name="T99" fmla="*/ 338 h 840"/>
                <a:gd name="T100" fmla="*/ 838 w 1915"/>
                <a:gd name="T101" fmla="*/ 316 h 840"/>
                <a:gd name="T102" fmla="*/ 858 w 1915"/>
                <a:gd name="T103" fmla="*/ 274 h 840"/>
                <a:gd name="T104" fmla="*/ 856 w 1915"/>
                <a:gd name="T105" fmla="*/ 202 h 840"/>
                <a:gd name="T106" fmla="*/ 837 w 1915"/>
                <a:gd name="T107" fmla="*/ 142 h 840"/>
                <a:gd name="T108" fmla="*/ 804 w 1915"/>
                <a:gd name="T109" fmla="*/ 110 h 840"/>
                <a:gd name="T110" fmla="*/ 759 w 1915"/>
                <a:gd name="T111" fmla="*/ 101 h 840"/>
                <a:gd name="T112" fmla="*/ 715 w 1915"/>
                <a:gd name="T113" fmla="*/ 114 h 840"/>
                <a:gd name="T114" fmla="*/ 687 w 1915"/>
                <a:gd name="T115" fmla="*/ 148 h 840"/>
                <a:gd name="T116" fmla="*/ 678 w 1915"/>
                <a:gd name="T117" fmla="*/ 205 h 840"/>
                <a:gd name="T118" fmla="*/ 1159 w 1915"/>
                <a:gd name="T119" fmla="*/ 438 h 840"/>
                <a:gd name="T120" fmla="*/ 1339 w 1915"/>
                <a:gd name="T121" fmla="*/ 497 h 840"/>
                <a:gd name="T122" fmla="*/ 1344 w 1915"/>
                <a:gd name="T123" fmla="*/ 329 h 840"/>
                <a:gd name="T124" fmla="*/ 1722 w 1915"/>
                <a:gd name="T125" fmla="*/ 84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15" h="840">
                  <a:moveTo>
                    <a:pt x="271" y="511"/>
                  </a:moveTo>
                  <a:lnTo>
                    <a:pt x="215" y="444"/>
                  </a:lnTo>
                  <a:lnTo>
                    <a:pt x="370" y="314"/>
                  </a:lnTo>
                  <a:lnTo>
                    <a:pt x="485" y="452"/>
                  </a:lnTo>
                  <a:lnTo>
                    <a:pt x="475" y="484"/>
                  </a:lnTo>
                  <a:lnTo>
                    <a:pt x="465" y="513"/>
                  </a:lnTo>
                  <a:lnTo>
                    <a:pt x="459" y="526"/>
                  </a:lnTo>
                  <a:lnTo>
                    <a:pt x="454" y="538"/>
                  </a:lnTo>
                  <a:lnTo>
                    <a:pt x="447" y="548"/>
                  </a:lnTo>
                  <a:lnTo>
                    <a:pt x="441" y="559"/>
                  </a:lnTo>
                  <a:lnTo>
                    <a:pt x="434" y="569"/>
                  </a:lnTo>
                  <a:lnTo>
                    <a:pt x="428" y="579"/>
                  </a:lnTo>
                  <a:lnTo>
                    <a:pt x="419" y="588"/>
                  </a:lnTo>
                  <a:lnTo>
                    <a:pt x="411" y="598"/>
                  </a:lnTo>
                  <a:lnTo>
                    <a:pt x="391" y="619"/>
                  </a:lnTo>
                  <a:lnTo>
                    <a:pt x="370" y="638"/>
                  </a:lnTo>
                  <a:lnTo>
                    <a:pt x="356" y="649"/>
                  </a:lnTo>
                  <a:lnTo>
                    <a:pt x="340" y="660"/>
                  </a:lnTo>
                  <a:lnTo>
                    <a:pt x="326" y="668"/>
                  </a:lnTo>
                  <a:lnTo>
                    <a:pt x="313" y="677"/>
                  </a:lnTo>
                  <a:lnTo>
                    <a:pt x="299" y="683"/>
                  </a:lnTo>
                  <a:lnTo>
                    <a:pt x="285" y="689"/>
                  </a:lnTo>
                  <a:lnTo>
                    <a:pt x="272" y="694"/>
                  </a:lnTo>
                  <a:lnTo>
                    <a:pt x="259" y="698"/>
                  </a:lnTo>
                  <a:lnTo>
                    <a:pt x="245" y="700"/>
                  </a:lnTo>
                  <a:lnTo>
                    <a:pt x="232" y="701"/>
                  </a:lnTo>
                  <a:lnTo>
                    <a:pt x="220" y="701"/>
                  </a:lnTo>
                  <a:lnTo>
                    <a:pt x="207" y="700"/>
                  </a:lnTo>
                  <a:lnTo>
                    <a:pt x="193" y="698"/>
                  </a:lnTo>
                  <a:lnTo>
                    <a:pt x="180" y="694"/>
                  </a:lnTo>
                  <a:lnTo>
                    <a:pt x="167" y="691"/>
                  </a:lnTo>
                  <a:lnTo>
                    <a:pt x="154" y="686"/>
                  </a:lnTo>
                  <a:lnTo>
                    <a:pt x="141" y="680"/>
                  </a:lnTo>
                  <a:lnTo>
                    <a:pt x="128" y="673"/>
                  </a:lnTo>
                  <a:lnTo>
                    <a:pt x="116" y="665"/>
                  </a:lnTo>
                  <a:lnTo>
                    <a:pt x="104" y="656"/>
                  </a:lnTo>
                  <a:lnTo>
                    <a:pt x="92" y="647"/>
                  </a:lnTo>
                  <a:lnTo>
                    <a:pt x="80" y="637"/>
                  </a:lnTo>
                  <a:lnTo>
                    <a:pt x="69" y="625"/>
                  </a:lnTo>
                  <a:lnTo>
                    <a:pt x="59" y="613"/>
                  </a:lnTo>
                  <a:lnTo>
                    <a:pt x="48" y="600"/>
                  </a:lnTo>
                  <a:lnTo>
                    <a:pt x="38" y="586"/>
                  </a:lnTo>
                  <a:lnTo>
                    <a:pt x="29" y="573"/>
                  </a:lnTo>
                  <a:lnTo>
                    <a:pt x="23" y="559"/>
                  </a:lnTo>
                  <a:lnTo>
                    <a:pt x="17" y="545"/>
                  </a:lnTo>
                  <a:lnTo>
                    <a:pt x="11" y="531"/>
                  </a:lnTo>
                  <a:lnTo>
                    <a:pt x="7" y="517"/>
                  </a:lnTo>
                  <a:lnTo>
                    <a:pt x="4" y="503"/>
                  </a:lnTo>
                  <a:lnTo>
                    <a:pt x="1" y="488"/>
                  </a:lnTo>
                  <a:lnTo>
                    <a:pt x="0" y="474"/>
                  </a:lnTo>
                  <a:lnTo>
                    <a:pt x="0" y="460"/>
                  </a:lnTo>
                  <a:lnTo>
                    <a:pt x="1" y="446"/>
                  </a:lnTo>
                  <a:lnTo>
                    <a:pt x="4" y="432"/>
                  </a:lnTo>
                  <a:lnTo>
                    <a:pt x="7" y="418"/>
                  </a:lnTo>
                  <a:lnTo>
                    <a:pt x="11" y="404"/>
                  </a:lnTo>
                  <a:lnTo>
                    <a:pt x="18" y="390"/>
                  </a:lnTo>
                  <a:lnTo>
                    <a:pt x="23" y="379"/>
                  </a:lnTo>
                  <a:lnTo>
                    <a:pt x="29" y="367"/>
                  </a:lnTo>
                  <a:lnTo>
                    <a:pt x="37" y="356"/>
                  </a:lnTo>
                  <a:lnTo>
                    <a:pt x="46" y="345"/>
                  </a:lnTo>
                  <a:lnTo>
                    <a:pt x="56" y="334"/>
                  </a:lnTo>
                  <a:lnTo>
                    <a:pt x="67" y="323"/>
                  </a:lnTo>
                  <a:lnTo>
                    <a:pt x="79" y="311"/>
                  </a:lnTo>
                  <a:lnTo>
                    <a:pt x="93" y="299"/>
                  </a:lnTo>
                  <a:lnTo>
                    <a:pt x="118" y="278"/>
                  </a:lnTo>
                  <a:lnTo>
                    <a:pt x="142" y="262"/>
                  </a:lnTo>
                  <a:lnTo>
                    <a:pt x="153" y="256"/>
                  </a:lnTo>
                  <a:lnTo>
                    <a:pt x="162" y="250"/>
                  </a:lnTo>
                  <a:lnTo>
                    <a:pt x="172" y="245"/>
                  </a:lnTo>
                  <a:lnTo>
                    <a:pt x="182" y="242"/>
                  </a:lnTo>
                  <a:lnTo>
                    <a:pt x="190" y="239"/>
                  </a:lnTo>
                  <a:lnTo>
                    <a:pt x="199" y="236"/>
                  </a:lnTo>
                  <a:lnTo>
                    <a:pt x="208" y="235"/>
                  </a:lnTo>
                  <a:lnTo>
                    <a:pt x="216" y="233"/>
                  </a:lnTo>
                  <a:lnTo>
                    <a:pt x="225" y="233"/>
                  </a:lnTo>
                  <a:lnTo>
                    <a:pt x="234" y="233"/>
                  </a:lnTo>
                  <a:lnTo>
                    <a:pt x="242" y="233"/>
                  </a:lnTo>
                  <a:lnTo>
                    <a:pt x="251" y="234"/>
                  </a:lnTo>
                  <a:lnTo>
                    <a:pt x="259" y="236"/>
                  </a:lnTo>
                  <a:lnTo>
                    <a:pt x="268" y="239"/>
                  </a:lnTo>
                  <a:lnTo>
                    <a:pt x="277" y="242"/>
                  </a:lnTo>
                  <a:lnTo>
                    <a:pt x="285" y="245"/>
                  </a:lnTo>
                  <a:lnTo>
                    <a:pt x="303" y="254"/>
                  </a:lnTo>
                  <a:lnTo>
                    <a:pt x="321" y="264"/>
                  </a:lnTo>
                  <a:lnTo>
                    <a:pt x="239" y="363"/>
                  </a:lnTo>
                  <a:lnTo>
                    <a:pt x="228" y="357"/>
                  </a:lnTo>
                  <a:lnTo>
                    <a:pt x="216" y="353"/>
                  </a:lnTo>
                  <a:lnTo>
                    <a:pt x="205" y="352"/>
                  </a:lnTo>
                  <a:lnTo>
                    <a:pt x="195" y="352"/>
                  </a:lnTo>
                  <a:lnTo>
                    <a:pt x="184" y="354"/>
                  </a:lnTo>
                  <a:lnTo>
                    <a:pt x="172" y="357"/>
                  </a:lnTo>
                  <a:lnTo>
                    <a:pt x="161" y="364"/>
                  </a:lnTo>
                  <a:lnTo>
                    <a:pt x="150" y="372"/>
                  </a:lnTo>
                  <a:lnTo>
                    <a:pt x="143" y="379"/>
                  </a:lnTo>
                  <a:lnTo>
                    <a:pt x="135" y="386"/>
                  </a:lnTo>
                  <a:lnTo>
                    <a:pt x="130" y="395"/>
                  </a:lnTo>
                  <a:lnTo>
                    <a:pt x="126" y="403"/>
                  </a:lnTo>
                  <a:lnTo>
                    <a:pt x="121" y="411"/>
                  </a:lnTo>
                  <a:lnTo>
                    <a:pt x="119" y="420"/>
                  </a:lnTo>
                  <a:lnTo>
                    <a:pt x="118" y="430"/>
                  </a:lnTo>
                  <a:lnTo>
                    <a:pt x="117" y="439"/>
                  </a:lnTo>
                  <a:lnTo>
                    <a:pt x="117" y="449"/>
                  </a:lnTo>
                  <a:lnTo>
                    <a:pt x="119" y="460"/>
                  </a:lnTo>
                  <a:lnTo>
                    <a:pt x="122" y="470"/>
                  </a:lnTo>
                  <a:lnTo>
                    <a:pt x="127" y="482"/>
                  </a:lnTo>
                  <a:lnTo>
                    <a:pt x="133" y="492"/>
                  </a:lnTo>
                  <a:lnTo>
                    <a:pt x="140" y="504"/>
                  </a:lnTo>
                  <a:lnTo>
                    <a:pt x="148" y="516"/>
                  </a:lnTo>
                  <a:lnTo>
                    <a:pt x="158" y="528"/>
                  </a:lnTo>
                  <a:lnTo>
                    <a:pt x="169" y="541"/>
                  </a:lnTo>
                  <a:lnTo>
                    <a:pt x="180" y="552"/>
                  </a:lnTo>
                  <a:lnTo>
                    <a:pt x="190" y="561"/>
                  </a:lnTo>
                  <a:lnTo>
                    <a:pt x="201" y="569"/>
                  </a:lnTo>
                  <a:lnTo>
                    <a:pt x="211" y="575"/>
                  </a:lnTo>
                  <a:lnTo>
                    <a:pt x="222" y="581"/>
                  </a:lnTo>
                  <a:lnTo>
                    <a:pt x="231" y="584"/>
                  </a:lnTo>
                  <a:lnTo>
                    <a:pt x="241" y="586"/>
                  </a:lnTo>
                  <a:lnTo>
                    <a:pt x="251" y="587"/>
                  </a:lnTo>
                  <a:lnTo>
                    <a:pt x="259" y="587"/>
                  </a:lnTo>
                  <a:lnTo>
                    <a:pt x="269" y="586"/>
                  </a:lnTo>
                  <a:lnTo>
                    <a:pt x="279" y="584"/>
                  </a:lnTo>
                  <a:lnTo>
                    <a:pt x="288" y="580"/>
                  </a:lnTo>
                  <a:lnTo>
                    <a:pt x="297" y="575"/>
                  </a:lnTo>
                  <a:lnTo>
                    <a:pt x="306" y="570"/>
                  </a:lnTo>
                  <a:lnTo>
                    <a:pt x="315" y="563"/>
                  </a:lnTo>
                  <a:lnTo>
                    <a:pt x="323" y="556"/>
                  </a:lnTo>
                  <a:lnTo>
                    <a:pt x="331" y="547"/>
                  </a:lnTo>
                  <a:lnTo>
                    <a:pt x="337" y="540"/>
                  </a:lnTo>
                  <a:lnTo>
                    <a:pt x="343" y="531"/>
                  </a:lnTo>
                  <a:lnTo>
                    <a:pt x="348" y="521"/>
                  </a:lnTo>
                  <a:lnTo>
                    <a:pt x="353" y="511"/>
                  </a:lnTo>
                  <a:lnTo>
                    <a:pt x="359" y="499"/>
                  </a:lnTo>
                  <a:lnTo>
                    <a:pt x="364" y="485"/>
                  </a:lnTo>
                  <a:lnTo>
                    <a:pt x="338" y="455"/>
                  </a:lnTo>
                  <a:lnTo>
                    <a:pt x="271" y="511"/>
                  </a:lnTo>
                  <a:close/>
                  <a:moveTo>
                    <a:pt x="553" y="255"/>
                  </a:moveTo>
                  <a:lnTo>
                    <a:pt x="550" y="230"/>
                  </a:lnTo>
                  <a:lnTo>
                    <a:pt x="549" y="206"/>
                  </a:lnTo>
                  <a:lnTo>
                    <a:pt x="550" y="183"/>
                  </a:lnTo>
                  <a:lnTo>
                    <a:pt x="553" y="162"/>
                  </a:lnTo>
                  <a:lnTo>
                    <a:pt x="555" y="151"/>
                  </a:lnTo>
                  <a:lnTo>
                    <a:pt x="558" y="141"/>
                  </a:lnTo>
                  <a:lnTo>
                    <a:pt x="561" y="132"/>
                  </a:lnTo>
                  <a:lnTo>
                    <a:pt x="565" y="122"/>
                  </a:lnTo>
                  <a:lnTo>
                    <a:pt x="569" y="113"/>
                  </a:lnTo>
                  <a:lnTo>
                    <a:pt x="574" y="104"/>
                  </a:lnTo>
                  <a:lnTo>
                    <a:pt x="579" y="95"/>
                  </a:lnTo>
                  <a:lnTo>
                    <a:pt x="585" y="86"/>
                  </a:lnTo>
                  <a:lnTo>
                    <a:pt x="591" y="79"/>
                  </a:lnTo>
                  <a:lnTo>
                    <a:pt x="598" y="71"/>
                  </a:lnTo>
                  <a:lnTo>
                    <a:pt x="605" y="64"/>
                  </a:lnTo>
                  <a:lnTo>
                    <a:pt x="613" y="57"/>
                  </a:lnTo>
                  <a:lnTo>
                    <a:pt x="620" y="51"/>
                  </a:lnTo>
                  <a:lnTo>
                    <a:pt x="629" y="44"/>
                  </a:lnTo>
                  <a:lnTo>
                    <a:pt x="637" y="39"/>
                  </a:lnTo>
                  <a:lnTo>
                    <a:pt x="646" y="33"/>
                  </a:lnTo>
                  <a:lnTo>
                    <a:pt x="666" y="24"/>
                  </a:lnTo>
                  <a:lnTo>
                    <a:pt x="687" y="16"/>
                  </a:lnTo>
                  <a:lnTo>
                    <a:pt x="710" y="10"/>
                  </a:lnTo>
                  <a:lnTo>
                    <a:pt x="735" y="4"/>
                  </a:lnTo>
                  <a:lnTo>
                    <a:pt x="759" y="1"/>
                  </a:lnTo>
                  <a:lnTo>
                    <a:pt x="784" y="0"/>
                  </a:lnTo>
                  <a:lnTo>
                    <a:pt x="807" y="1"/>
                  </a:lnTo>
                  <a:lnTo>
                    <a:pt x="829" y="4"/>
                  </a:lnTo>
                  <a:lnTo>
                    <a:pt x="839" y="6"/>
                  </a:lnTo>
                  <a:lnTo>
                    <a:pt x="849" y="8"/>
                  </a:lnTo>
                  <a:lnTo>
                    <a:pt x="860" y="12"/>
                  </a:lnTo>
                  <a:lnTo>
                    <a:pt x="869" y="16"/>
                  </a:lnTo>
                  <a:lnTo>
                    <a:pt x="878" y="19"/>
                  </a:lnTo>
                  <a:lnTo>
                    <a:pt x="887" y="25"/>
                  </a:lnTo>
                  <a:lnTo>
                    <a:pt x="896" y="29"/>
                  </a:lnTo>
                  <a:lnTo>
                    <a:pt x="904" y="35"/>
                  </a:lnTo>
                  <a:lnTo>
                    <a:pt x="912" y="41"/>
                  </a:lnTo>
                  <a:lnTo>
                    <a:pt x="919" y="47"/>
                  </a:lnTo>
                  <a:lnTo>
                    <a:pt x="927" y="55"/>
                  </a:lnTo>
                  <a:lnTo>
                    <a:pt x="933" y="62"/>
                  </a:lnTo>
                  <a:lnTo>
                    <a:pt x="940" y="70"/>
                  </a:lnTo>
                  <a:lnTo>
                    <a:pt x="946" y="78"/>
                  </a:lnTo>
                  <a:lnTo>
                    <a:pt x="952" y="86"/>
                  </a:lnTo>
                  <a:lnTo>
                    <a:pt x="957" y="96"/>
                  </a:lnTo>
                  <a:lnTo>
                    <a:pt x="967" y="115"/>
                  </a:lnTo>
                  <a:lnTo>
                    <a:pt x="974" y="136"/>
                  </a:lnTo>
                  <a:lnTo>
                    <a:pt x="981" y="159"/>
                  </a:lnTo>
                  <a:lnTo>
                    <a:pt x="985" y="183"/>
                  </a:lnTo>
                  <a:lnTo>
                    <a:pt x="987" y="201"/>
                  </a:lnTo>
                  <a:lnTo>
                    <a:pt x="990" y="218"/>
                  </a:lnTo>
                  <a:lnTo>
                    <a:pt x="990" y="235"/>
                  </a:lnTo>
                  <a:lnTo>
                    <a:pt x="990" y="250"/>
                  </a:lnTo>
                  <a:lnTo>
                    <a:pt x="988" y="266"/>
                  </a:lnTo>
                  <a:lnTo>
                    <a:pt x="986" y="281"/>
                  </a:lnTo>
                  <a:lnTo>
                    <a:pt x="983" y="294"/>
                  </a:lnTo>
                  <a:lnTo>
                    <a:pt x="980" y="307"/>
                  </a:lnTo>
                  <a:lnTo>
                    <a:pt x="975" y="320"/>
                  </a:lnTo>
                  <a:lnTo>
                    <a:pt x="969" y="331"/>
                  </a:lnTo>
                  <a:lnTo>
                    <a:pt x="964" y="342"/>
                  </a:lnTo>
                  <a:lnTo>
                    <a:pt x="956" y="353"/>
                  </a:lnTo>
                  <a:lnTo>
                    <a:pt x="948" y="364"/>
                  </a:lnTo>
                  <a:lnTo>
                    <a:pt x="940" y="374"/>
                  </a:lnTo>
                  <a:lnTo>
                    <a:pt x="930" y="382"/>
                  </a:lnTo>
                  <a:lnTo>
                    <a:pt x="920" y="391"/>
                  </a:lnTo>
                  <a:lnTo>
                    <a:pt x="909" y="399"/>
                  </a:lnTo>
                  <a:lnTo>
                    <a:pt x="897" y="407"/>
                  </a:lnTo>
                  <a:lnTo>
                    <a:pt x="885" y="413"/>
                  </a:lnTo>
                  <a:lnTo>
                    <a:pt x="871" y="419"/>
                  </a:lnTo>
                  <a:lnTo>
                    <a:pt x="857" y="424"/>
                  </a:lnTo>
                  <a:lnTo>
                    <a:pt x="842" y="429"/>
                  </a:lnTo>
                  <a:lnTo>
                    <a:pt x="825" y="433"/>
                  </a:lnTo>
                  <a:lnTo>
                    <a:pt x="808" y="436"/>
                  </a:lnTo>
                  <a:lnTo>
                    <a:pt x="791" y="438"/>
                  </a:lnTo>
                  <a:lnTo>
                    <a:pt x="774" y="439"/>
                  </a:lnTo>
                  <a:lnTo>
                    <a:pt x="758" y="440"/>
                  </a:lnTo>
                  <a:lnTo>
                    <a:pt x="742" y="440"/>
                  </a:lnTo>
                  <a:lnTo>
                    <a:pt x="728" y="439"/>
                  </a:lnTo>
                  <a:lnTo>
                    <a:pt x="714" y="437"/>
                  </a:lnTo>
                  <a:lnTo>
                    <a:pt x="700" y="435"/>
                  </a:lnTo>
                  <a:lnTo>
                    <a:pt x="687" y="432"/>
                  </a:lnTo>
                  <a:lnTo>
                    <a:pt x="675" y="428"/>
                  </a:lnTo>
                  <a:lnTo>
                    <a:pt x="663" y="422"/>
                  </a:lnTo>
                  <a:lnTo>
                    <a:pt x="651" y="417"/>
                  </a:lnTo>
                  <a:lnTo>
                    <a:pt x="641" y="409"/>
                  </a:lnTo>
                  <a:lnTo>
                    <a:pt x="630" y="402"/>
                  </a:lnTo>
                  <a:lnTo>
                    <a:pt x="620" y="393"/>
                  </a:lnTo>
                  <a:lnTo>
                    <a:pt x="610" y="383"/>
                  </a:lnTo>
                  <a:lnTo>
                    <a:pt x="601" y="372"/>
                  </a:lnTo>
                  <a:lnTo>
                    <a:pt x="592" y="361"/>
                  </a:lnTo>
                  <a:lnTo>
                    <a:pt x="585" y="349"/>
                  </a:lnTo>
                  <a:lnTo>
                    <a:pt x="577" y="335"/>
                  </a:lnTo>
                  <a:lnTo>
                    <a:pt x="571" y="321"/>
                  </a:lnTo>
                  <a:lnTo>
                    <a:pt x="565" y="305"/>
                  </a:lnTo>
                  <a:lnTo>
                    <a:pt x="561" y="289"/>
                  </a:lnTo>
                  <a:lnTo>
                    <a:pt x="556" y="273"/>
                  </a:lnTo>
                  <a:lnTo>
                    <a:pt x="553" y="255"/>
                  </a:lnTo>
                  <a:close/>
                  <a:moveTo>
                    <a:pt x="682" y="235"/>
                  </a:moveTo>
                  <a:lnTo>
                    <a:pt x="685" y="250"/>
                  </a:lnTo>
                  <a:lnTo>
                    <a:pt x="688" y="264"/>
                  </a:lnTo>
                  <a:lnTo>
                    <a:pt x="693" y="277"/>
                  </a:lnTo>
                  <a:lnTo>
                    <a:pt x="697" y="288"/>
                  </a:lnTo>
                  <a:lnTo>
                    <a:pt x="701" y="299"/>
                  </a:lnTo>
                  <a:lnTo>
                    <a:pt x="708" y="308"/>
                  </a:lnTo>
                  <a:lnTo>
                    <a:pt x="713" y="315"/>
                  </a:lnTo>
                  <a:lnTo>
                    <a:pt x="720" y="323"/>
                  </a:lnTo>
                  <a:lnTo>
                    <a:pt x="727" y="328"/>
                  </a:lnTo>
                  <a:lnTo>
                    <a:pt x="735" y="332"/>
                  </a:lnTo>
                  <a:lnTo>
                    <a:pt x="743" y="336"/>
                  </a:lnTo>
                  <a:lnTo>
                    <a:pt x="751" y="339"/>
                  </a:lnTo>
                  <a:lnTo>
                    <a:pt x="759" y="340"/>
                  </a:lnTo>
                  <a:lnTo>
                    <a:pt x="769" y="341"/>
                  </a:lnTo>
                  <a:lnTo>
                    <a:pt x="779" y="341"/>
                  </a:lnTo>
                  <a:lnTo>
                    <a:pt x="789" y="340"/>
                  </a:lnTo>
                  <a:lnTo>
                    <a:pt x="798" y="338"/>
                  </a:lnTo>
                  <a:lnTo>
                    <a:pt x="808" y="335"/>
                  </a:lnTo>
                  <a:lnTo>
                    <a:pt x="817" y="331"/>
                  </a:lnTo>
                  <a:lnTo>
                    <a:pt x="824" y="327"/>
                  </a:lnTo>
                  <a:lnTo>
                    <a:pt x="832" y="322"/>
                  </a:lnTo>
                  <a:lnTo>
                    <a:pt x="838" y="316"/>
                  </a:lnTo>
                  <a:lnTo>
                    <a:pt x="844" y="310"/>
                  </a:lnTo>
                  <a:lnTo>
                    <a:pt x="848" y="302"/>
                  </a:lnTo>
                  <a:lnTo>
                    <a:pt x="852" y="295"/>
                  </a:lnTo>
                  <a:lnTo>
                    <a:pt x="856" y="285"/>
                  </a:lnTo>
                  <a:lnTo>
                    <a:pt x="858" y="274"/>
                  </a:lnTo>
                  <a:lnTo>
                    <a:pt x="860" y="262"/>
                  </a:lnTo>
                  <a:lnTo>
                    <a:pt x="860" y="249"/>
                  </a:lnTo>
                  <a:lnTo>
                    <a:pt x="860" y="234"/>
                  </a:lnTo>
                  <a:lnTo>
                    <a:pt x="859" y="219"/>
                  </a:lnTo>
                  <a:lnTo>
                    <a:pt x="856" y="202"/>
                  </a:lnTo>
                  <a:lnTo>
                    <a:pt x="853" y="188"/>
                  </a:lnTo>
                  <a:lnTo>
                    <a:pt x="850" y="175"/>
                  </a:lnTo>
                  <a:lnTo>
                    <a:pt x="846" y="163"/>
                  </a:lnTo>
                  <a:lnTo>
                    <a:pt x="842" y="152"/>
                  </a:lnTo>
                  <a:lnTo>
                    <a:pt x="837" y="142"/>
                  </a:lnTo>
                  <a:lnTo>
                    <a:pt x="832" y="134"/>
                  </a:lnTo>
                  <a:lnTo>
                    <a:pt x="825" y="126"/>
                  </a:lnTo>
                  <a:lnTo>
                    <a:pt x="819" y="120"/>
                  </a:lnTo>
                  <a:lnTo>
                    <a:pt x="811" y="114"/>
                  </a:lnTo>
                  <a:lnTo>
                    <a:pt x="804" y="110"/>
                  </a:lnTo>
                  <a:lnTo>
                    <a:pt x="796" y="106"/>
                  </a:lnTo>
                  <a:lnTo>
                    <a:pt x="788" y="104"/>
                  </a:lnTo>
                  <a:lnTo>
                    <a:pt x="779" y="101"/>
                  </a:lnTo>
                  <a:lnTo>
                    <a:pt x="769" y="101"/>
                  </a:lnTo>
                  <a:lnTo>
                    <a:pt x="759" y="101"/>
                  </a:lnTo>
                  <a:lnTo>
                    <a:pt x="750" y="102"/>
                  </a:lnTo>
                  <a:lnTo>
                    <a:pt x="740" y="105"/>
                  </a:lnTo>
                  <a:lnTo>
                    <a:pt x="731" y="107"/>
                  </a:lnTo>
                  <a:lnTo>
                    <a:pt x="723" y="110"/>
                  </a:lnTo>
                  <a:lnTo>
                    <a:pt x="715" y="114"/>
                  </a:lnTo>
                  <a:lnTo>
                    <a:pt x="709" y="120"/>
                  </a:lnTo>
                  <a:lnTo>
                    <a:pt x="702" y="126"/>
                  </a:lnTo>
                  <a:lnTo>
                    <a:pt x="697" y="133"/>
                  </a:lnTo>
                  <a:lnTo>
                    <a:pt x="691" y="140"/>
                  </a:lnTo>
                  <a:lnTo>
                    <a:pt x="687" y="148"/>
                  </a:lnTo>
                  <a:lnTo>
                    <a:pt x="684" y="158"/>
                  </a:lnTo>
                  <a:lnTo>
                    <a:pt x="681" y="168"/>
                  </a:lnTo>
                  <a:lnTo>
                    <a:pt x="680" y="179"/>
                  </a:lnTo>
                  <a:lnTo>
                    <a:pt x="678" y="192"/>
                  </a:lnTo>
                  <a:lnTo>
                    <a:pt x="678" y="205"/>
                  </a:lnTo>
                  <a:lnTo>
                    <a:pt x="681" y="220"/>
                  </a:lnTo>
                  <a:lnTo>
                    <a:pt x="682" y="235"/>
                  </a:lnTo>
                  <a:close/>
                  <a:moveTo>
                    <a:pt x="1342" y="424"/>
                  </a:moveTo>
                  <a:lnTo>
                    <a:pt x="1200" y="378"/>
                  </a:lnTo>
                  <a:lnTo>
                    <a:pt x="1159" y="438"/>
                  </a:lnTo>
                  <a:lnTo>
                    <a:pt x="1032" y="397"/>
                  </a:lnTo>
                  <a:lnTo>
                    <a:pt x="1313" y="44"/>
                  </a:lnTo>
                  <a:lnTo>
                    <a:pt x="1450" y="88"/>
                  </a:lnTo>
                  <a:lnTo>
                    <a:pt x="1470" y="540"/>
                  </a:lnTo>
                  <a:lnTo>
                    <a:pt x="1339" y="497"/>
                  </a:lnTo>
                  <a:lnTo>
                    <a:pt x="1342" y="424"/>
                  </a:lnTo>
                  <a:close/>
                  <a:moveTo>
                    <a:pt x="1344" y="329"/>
                  </a:moveTo>
                  <a:lnTo>
                    <a:pt x="1346" y="169"/>
                  </a:lnTo>
                  <a:lnTo>
                    <a:pt x="1255" y="300"/>
                  </a:lnTo>
                  <a:lnTo>
                    <a:pt x="1344" y="329"/>
                  </a:lnTo>
                  <a:close/>
                  <a:moveTo>
                    <a:pt x="1831" y="312"/>
                  </a:moveTo>
                  <a:lnTo>
                    <a:pt x="1915" y="412"/>
                  </a:lnTo>
                  <a:lnTo>
                    <a:pt x="1671" y="617"/>
                  </a:lnTo>
                  <a:lnTo>
                    <a:pt x="1802" y="773"/>
                  </a:lnTo>
                  <a:lnTo>
                    <a:pt x="1722" y="840"/>
                  </a:lnTo>
                  <a:lnTo>
                    <a:pt x="1507" y="584"/>
                  </a:lnTo>
                  <a:lnTo>
                    <a:pt x="1831" y="312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/>
            <p:cNvSpPr>
              <a:spLocks/>
            </p:cNvSpPr>
            <p:nvPr/>
          </p:nvSpPr>
          <p:spPr bwMode="auto">
            <a:xfrm>
              <a:off x="7453778" y="3257342"/>
              <a:ext cx="288276" cy="106207"/>
            </a:xfrm>
            <a:custGeom>
              <a:avLst/>
              <a:gdLst>
                <a:gd name="T0" fmla="*/ 249 w 452"/>
                <a:gd name="T1" fmla="*/ 0 h 165"/>
                <a:gd name="T2" fmla="*/ 293 w 452"/>
                <a:gd name="T3" fmla="*/ 3 h 165"/>
                <a:gd name="T4" fmla="*/ 334 w 452"/>
                <a:gd name="T5" fmla="*/ 10 h 165"/>
                <a:gd name="T6" fmla="*/ 370 w 452"/>
                <a:gd name="T7" fmla="*/ 18 h 165"/>
                <a:gd name="T8" fmla="*/ 401 w 452"/>
                <a:gd name="T9" fmla="*/ 29 h 165"/>
                <a:gd name="T10" fmla="*/ 425 w 452"/>
                <a:gd name="T11" fmla="*/ 43 h 165"/>
                <a:gd name="T12" fmla="*/ 442 w 452"/>
                <a:gd name="T13" fmla="*/ 57 h 165"/>
                <a:gd name="T14" fmla="*/ 450 w 452"/>
                <a:gd name="T15" fmla="*/ 69 h 165"/>
                <a:gd name="T16" fmla="*/ 452 w 452"/>
                <a:gd name="T17" fmla="*/ 78 h 165"/>
                <a:gd name="T18" fmla="*/ 452 w 452"/>
                <a:gd name="T19" fmla="*/ 86 h 165"/>
                <a:gd name="T20" fmla="*/ 450 w 452"/>
                <a:gd name="T21" fmla="*/ 95 h 165"/>
                <a:gd name="T22" fmla="*/ 442 w 452"/>
                <a:gd name="T23" fmla="*/ 107 h 165"/>
                <a:gd name="T24" fmla="*/ 425 w 452"/>
                <a:gd name="T25" fmla="*/ 122 h 165"/>
                <a:gd name="T26" fmla="*/ 401 w 452"/>
                <a:gd name="T27" fmla="*/ 135 h 165"/>
                <a:gd name="T28" fmla="*/ 370 w 452"/>
                <a:gd name="T29" fmla="*/ 146 h 165"/>
                <a:gd name="T30" fmla="*/ 334 w 452"/>
                <a:gd name="T31" fmla="*/ 154 h 165"/>
                <a:gd name="T32" fmla="*/ 293 w 452"/>
                <a:gd name="T33" fmla="*/ 161 h 165"/>
                <a:gd name="T34" fmla="*/ 249 w 452"/>
                <a:gd name="T35" fmla="*/ 164 h 165"/>
                <a:gd name="T36" fmla="*/ 203 w 452"/>
                <a:gd name="T37" fmla="*/ 164 h 165"/>
                <a:gd name="T38" fmla="*/ 158 w 452"/>
                <a:gd name="T39" fmla="*/ 161 h 165"/>
                <a:gd name="T40" fmla="*/ 117 w 452"/>
                <a:gd name="T41" fmla="*/ 154 h 165"/>
                <a:gd name="T42" fmla="*/ 82 w 452"/>
                <a:gd name="T43" fmla="*/ 146 h 165"/>
                <a:gd name="T44" fmla="*/ 51 w 452"/>
                <a:gd name="T45" fmla="*/ 135 h 165"/>
                <a:gd name="T46" fmla="*/ 27 w 452"/>
                <a:gd name="T47" fmla="*/ 122 h 165"/>
                <a:gd name="T48" fmla="*/ 9 w 452"/>
                <a:gd name="T49" fmla="*/ 107 h 165"/>
                <a:gd name="T50" fmla="*/ 2 w 452"/>
                <a:gd name="T51" fmla="*/ 95 h 165"/>
                <a:gd name="T52" fmla="*/ 0 w 452"/>
                <a:gd name="T53" fmla="*/ 86 h 165"/>
                <a:gd name="T54" fmla="*/ 0 w 452"/>
                <a:gd name="T55" fmla="*/ 78 h 165"/>
                <a:gd name="T56" fmla="*/ 2 w 452"/>
                <a:gd name="T57" fmla="*/ 69 h 165"/>
                <a:gd name="T58" fmla="*/ 9 w 452"/>
                <a:gd name="T59" fmla="*/ 57 h 165"/>
                <a:gd name="T60" fmla="*/ 27 w 452"/>
                <a:gd name="T61" fmla="*/ 43 h 165"/>
                <a:gd name="T62" fmla="*/ 51 w 452"/>
                <a:gd name="T63" fmla="*/ 29 h 165"/>
                <a:gd name="T64" fmla="*/ 82 w 452"/>
                <a:gd name="T65" fmla="*/ 18 h 165"/>
                <a:gd name="T66" fmla="*/ 117 w 452"/>
                <a:gd name="T67" fmla="*/ 10 h 165"/>
                <a:gd name="T68" fmla="*/ 158 w 452"/>
                <a:gd name="T69" fmla="*/ 3 h 165"/>
                <a:gd name="T70" fmla="*/ 203 w 452"/>
                <a:gd name="T71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52" h="165">
                  <a:moveTo>
                    <a:pt x="226" y="0"/>
                  </a:moveTo>
                  <a:lnTo>
                    <a:pt x="249" y="0"/>
                  </a:lnTo>
                  <a:lnTo>
                    <a:pt x="272" y="1"/>
                  </a:lnTo>
                  <a:lnTo>
                    <a:pt x="293" y="3"/>
                  </a:lnTo>
                  <a:lnTo>
                    <a:pt x="314" y="6"/>
                  </a:lnTo>
                  <a:lnTo>
                    <a:pt x="334" y="10"/>
                  </a:lnTo>
                  <a:lnTo>
                    <a:pt x="353" y="14"/>
                  </a:lnTo>
                  <a:lnTo>
                    <a:pt x="370" y="18"/>
                  </a:lnTo>
                  <a:lnTo>
                    <a:pt x="386" y="24"/>
                  </a:lnTo>
                  <a:lnTo>
                    <a:pt x="401" y="29"/>
                  </a:lnTo>
                  <a:lnTo>
                    <a:pt x="414" y="35"/>
                  </a:lnTo>
                  <a:lnTo>
                    <a:pt x="425" y="43"/>
                  </a:lnTo>
                  <a:lnTo>
                    <a:pt x="435" y="50"/>
                  </a:lnTo>
                  <a:lnTo>
                    <a:pt x="442" y="57"/>
                  </a:lnTo>
                  <a:lnTo>
                    <a:pt x="448" y="66"/>
                  </a:lnTo>
                  <a:lnTo>
                    <a:pt x="450" y="69"/>
                  </a:lnTo>
                  <a:lnTo>
                    <a:pt x="451" y="73"/>
                  </a:lnTo>
                  <a:lnTo>
                    <a:pt x="452" y="78"/>
                  </a:lnTo>
                  <a:lnTo>
                    <a:pt x="452" y="82"/>
                  </a:lnTo>
                  <a:lnTo>
                    <a:pt x="452" y="86"/>
                  </a:lnTo>
                  <a:lnTo>
                    <a:pt x="451" y="91"/>
                  </a:lnTo>
                  <a:lnTo>
                    <a:pt x="450" y="95"/>
                  </a:lnTo>
                  <a:lnTo>
                    <a:pt x="448" y="98"/>
                  </a:lnTo>
                  <a:lnTo>
                    <a:pt x="442" y="107"/>
                  </a:lnTo>
                  <a:lnTo>
                    <a:pt x="435" y="114"/>
                  </a:lnTo>
                  <a:lnTo>
                    <a:pt x="425" y="122"/>
                  </a:lnTo>
                  <a:lnTo>
                    <a:pt x="414" y="128"/>
                  </a:lnTo>
                  <a:lnTo>
                    <a:pt x="401" y="135"/>
                  </a:lnTo>
                  <a:lnTo>
                    <a:pt x="386" y="140"/>
                  </a:lnTo>
                  <a:lnTo>
                    <a:pt x="370" y="146"/>
                  </a:lnTo>
                  <a:lnTo>
                    <a:pt x="353" y="151"/>
                  </a:lnTo>
                  <a:lnTo>
                    <a:pt x="334" y="154"/>
                  </a:lnTo>
                  <a:lnTo>
                    <a:pt x="314" y="159"/>
                  </a:lnTo>
                  <a:lnTo>
                    <a:pt x="293" y="161"/>
                  </a:lnTo>
                  <a:lnTo>
                    <a:pt x="272" y="163"/>
                  </a:lnTo>
                  <a:lnTo>
                    <a:pt x="249" y="164"/>
                  </a:lnTo>
                  <a:lnTo>
                    <a:pt x="226" y="165"/>
                  </a:lnTo>
                  <a:lnTo>
                    <a:pt x="203" y="164"/>
                  </a:lnTo>
                  <a:lnTo>
                    <a:pt x="180" y="163"/>
                  </a:lnTo>
                  <a:lnTo>
                    <a:pt x="158" y="161"/>
                  </a:lnTo>
                  <a:lnTo>
                    <a:pt x="138" y="159"/>
                  </a:lnTo>
                  <a:lnTo>
                    <a:pt x="117" y="154"/>
                  </a:lnTo>
                  <a:lnTo>
                    <a:pt x="99" y="151"/>
                  </a:lnTo>
                  <a:lnTo>
                    <a:pt x="82" y="146"/>
                  </a:lnTo>
                  <a:lnTo>
                    <a:pt x="66" y="140"/>
                  </a:lnTo>
                  <a:lnTo>
                    <a:pt x="51" y="135"/>
                  </a:lnTo>
                  <a:lnTo>
                    <a:pt x="37" y="128"/>
                  </a:lnTo>
                  <a:lnTo>
                    <a:pt x="27" y="122"/>
                  </a:lnTo>
                  <a:lnTo>
                    <a:pt x="17" y="114"/>
                  </a:lnTo>
                  <a:lnTo>
                    <a:pt x="9" y="107"/>
                  </a:lnTo>
                  <a:lnTo>
                    <a:pt x="4" y="98"/>
                  </a:lnTo>
                  <a:lnTo>
                    <a:pt x="2" y="95"/>
                  </a:lnTo>
                  <a:lnTo>
                    <a:pt x="1" y="91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1" y="73"/>
                  </a:lnTo>
                  <a:lnTo>
                    <a:pt x="2" y="69"/>
                  </a:lnTo>
                  <a:lnTo>
                    <a:pt x="4" y="66"/>
                  </a:lnTo>
                  <a:lnTo>
                    <a:pt x="9" y="57"/>
                  </a:lnTo>
                  <a:lnTo>
                    <a:pt x="17" y="50"/>
                  </a:lnTo>
                  <a:lnTo>
                    <a:pt x="27" y="43"/>
                  </a:lnTo>
                  <a:lnTo>
                    <a:pt x="37" y="35"/>
                  </a:lnTo>
                  <a:lnTo>
                    <a:pt x="51" y="29"/>
                  </a:lnTo>
                  <a:lnTo>
                    <a:pt x="66" y="24"/>
                  </a:lnTo>
                  <a:lnTo>
                    <a:pt x="82" y="18"/>
                  </a:lnTo>
                  <a:lnTo>
                    <a:pt x="99" y="14"/>
                  </a:lnTo>
                  <a:lnTo>
                    <a:pt x="117" y="10"/>
                  </a:lnTo>
                  <a:lnTo>
                    <a:pt x="138" y="6"/>
                  </a:lnTo>
                  <a:lnTo>
                    <a:pt x="158" y="3"/>
                  </a:lnTo>
                  <a:lnTo>
                    <a:pt x="180" y="1"/>
                  </a:lnTo>
                  <a:lnTo>
                    <a:pt x="203" y="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A51A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"/>
            <p:cNvSpPr>
              <a:spLocks noEditPoints="1"/>
            </p:cNvSpPr>
            <p:nvPr/>
          </p:nvSpPr>
          <p:spPr bwMode="auto">
            <a:xfrm>
              <a:off x="7395618" y="2673207"/>
              <a:ext cx="174483" cy="1873789"/>
            </a:xfrm>
            <a:custGeom>
              <a:avLst/>
              <a:gdLst>
                <a:gd name="T0" fmla="*/ 160 w 275"/>
                <a:gd name="T1" fmla="*/ 171 h 2964"/>
                <a:gd name="T2" fmla="*/ 0 w 275"/>
                <a:gd name="T3" fmla="*/ 195 h 2964"/>
                <a:gd name="T4" fmla="*/ 0 w 275"/>
                <a:gd name="T5" fmla="*/ 2340 h 2964"/>
                <a:gd name="T6" fmla="*/ 275 w 275"/>
                <a:gd name="T7" fmla="*/ 2363 h 2964"/>
                <a:gd name="T8" fmla="*/ 0 w 275"/>
                <a:gd name="T9" fmla="*/ 2340 h 2964"/>
                <a:gd name="T10" fmla="*/ 275 w 275"/>
                <a:gd name="T11" fmla="*/ 1560 h 2964"/>
                <a:gd name="T12" fmla="*/ 0 w 275"/>
                <a:gd name="T13" fmla="*/ 1584 h 2964"/>
                <a:gd name="T14" fmla="*/ 0 w 275"/>
                <a:gd name="T15" fmla="*/ 780 h 2964"/>
                <a:gd name="T16" fmla="*/ 275 w 275"/>
                <a:gd name="T17" fmla="*/ 805 h 2964"/>
                <a:gd name="T18" fmla="*/ 0 w 275"/>
                <a:gd name="T19" fmla="*/ 780 h 2964"/>
                <a:gd name="T20" fmla="*/ 160 w 275"/>
                <a:gd name="T21" fmla="*/ 2939 h 2964"/>
                <a:gd name="T22" fmla="*/ 0 w 275"/>
                <a:gd name="T23" fmla="*/ 2964 h 2964"/>
                <a:gd name="T24" fmla="*/ 0 w 275"/>
                <a:gd name="T25" fmla="*/ 2160 h 2964"/>
                <a:gd name="T26" fmla="*/ 160 w 275"/>
                <a:gd name="T27" fmla="*/ 2184 h 2964"/>
                <a:gd name="T28" fmla="*/ 0 w 275"/>
                <a:gd name="T29" fmla="*/ 2160 h 2964"/>
                <a:gd name="T30" fmla="*/ 160 w 275"/>
                <a:gd name="T31" fmla="*/ 1381 h 2964"/>
                <a:gd name="T32" fmla="*/ 0 w 275"/>
                <a:gd name="T33" fmla="*/ 1406 h 2964"/>
                <a:gd name="T34" fmla="*/ 0 w 275"/>
                <a:gd name="T35" fmla="*/ 2797 h 2964"/>
                <a:gd name="T36" fmla="*/ 160 w 275"/>
                <a:gd name="T37" fmla="*/ 2820 h 2964"/>
                <a:gd name="T38" fmla="*/ 0 w 275"/>
                <a:gd name="T39" fmla="*/ 2797 h 2964"/>
                <a:gd name="T40" fmla="*/ 160 w 275"/>
                <a:gd name="T41" fmla="*/ 2017 h 2964"/>
                <a:gd name="T42" fmla="*/ 0 w 275"/>
                <a:gd name="T43" fmla="*/ 2041 h 2964"/>
                <a:gd name="T44" fmla="*/ 0 w 275"/>
                <a:gd name="T45" fmla="*/ 1237 h 2964"/>
                <a:gd name="T46" fmla="*/ 160 w 275"/>
                <a:gd name="T47" fmla="*/ 1262 h 2964"/>
                <a:gd name="T48" fmla="*/ 0 w 275"/>
                <a:gd name="T49" fmla="*/ 1237 h 2964"/>
                <a:gd name="T50" fmla="*/ 160 w 275"/>
                <a:gd name="T51" fmla="*/ 2653 h 2964"/>
                <a:gd name="T52" fmla="*/ 0 w 275"/>
                <a:gd name="T53" fmla="*/ 2677 h 2964"/>
                <a:gd name="T54" fmla="*/ 0 w 275"/>
                <a:gd name="T55" fmla="*/ 1873 h 2964"/>
                <a:gd name="T56" fmla="*/ 160 w 275"/>
                <a:gd name="T57" fmla="*/ 1897 h 2964"/>
                <a:gd name="T58" fmla="*/ 0 w 275"/>
                <a:gd name="T59" fmla="*/ 1873 h 2964"/>
                <a:gd name="T60" fmla="*/ 160 w 275"/>
                <a:gd name="T61" fmla="*/ 1093 h 2964"/>
                <a:gd name="T62" fmla="*/ 0 w 275"/>
                <a:gd name="T63" fmla="*/ 1118 h 2964"/>
                <a:gd name="T64" fmla="*/ 0 w 275"/>
                <a:gd name="T65" fmla="*/ 2509 h 2964"/>
                <a:gd name="T66" fmla="*/ 160 w 275"/>
                <a:gd name="T67" fmla="*/ 2533 h 2964"/>
                <a:gd name="T68" fmla="*/ 0 w 275"/>
                <a:gd name="T69" fmla="*/ 2509 h 2964"/>
                <a:gd name="T70" fmla="*/ 160 w 275"/>
                <a:gd name="T71" fmla="*/ 1730 h 2964"/>
                <a:gd name="T72" fmla="*/ 0 w 275"/>
                <a:gd name="T73" fmla="*/ 1754 h 2964"/>
                <a:gd name="T74" fmla="*/ 0 w 275"/>
                <a:gd name="T75" fmla="*/ 950 h 2964"/>
                <a:gd name="T76" fmla="*/ 160 w 275"/>
                <a:gd name="T77" fmla="*/ 975 h 2964"/>
                <a:gd name="T78" fmla="*/ 0 w 275"/>
                <a:gd name="T79" fmla="*/ 950 h 2964"/>
                <a:gd name="T80" fmla="*/ 275 w 275"/>
                <a:gd name="T81" fmla="*/ 0 h 2964"/>
                <a:gd name="T82" fmla="*/ 0 w 275"/>
                <a:gd name="T83" fmla="*/ 25 h 2964"/>
                <a:gd name="T84" fmla="*/ 0 w 275"/>
                <a:gd name="T85" fmla="*/ 601 h 2964"/>
                <a:gd name="T86" fmla="*/ 160 w 275"/>
                <a:gd name="T87" fmla="*/ 626 h 2964"/>
                <a:gd name="T88" fmla="*/ 0 w 275"/>
                <a:gd name="T89" fmla="*/ 601 h 2964"/>
                <a:gd name="T90" fmla="*/ 160 w 275"/>
                <a:gd name="T91" fmla="*/ 458 h 2964"/>
                <a:gd name="T92" fmla="*/ 0 w 275"/>
                <a:gd name="T93" fmla="*/ 482 h 2964"/>
                <a:gd name="T94" fmla="*/ 0 w 275"/>
                <a:gd name="T95" fmla="*/ 315 h 2964"/>
                <a:gd name="T96" fmla="*/ 160 w 275"/>
                <a:gd name="T97" fmla="*/ 338 h 2964"/>
                <a:gd name="T98" fmla="*/ 0 w 275"/>
                <a:gd name="T99" fmla="*/ 315 h 2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5" h="2964">
                  <a:moveTo>
                    <a:pt x="0" y="171"/>
                  </a:moveTo>
                  <a:lnTo>
                    <a:pt x="160" y="171"/>
                  </a:lnTo>
                  <a:lnTo>
                    <a:pt x="160" y="195"/>
                  </a:lnTo>
                  <a:lnTo>
                    <a:pt x="0" y="195"/>
                  </a:lnTo>
                  <a:lnTo>
                    <a:pt x="0" y="171"/>
                  </a:lnTo>
                  <a:close/>
                  <a:moveTo>
                    <a:pt x="0" y="2340"/>
                  </a:moveTo>
                  <a:lnTo>
                    <a:pt x="275" y="2340"/>
                  </a:lnTo>
                  <a:lnTo>
                    <a:pt x="275" y="2363"/>
                  </a:lnTo>
                  <a:lnTo>
                    <a:pt x="0" y="2363"/>
                  </a:lnTo>
                  <a:lnTo>
                    <a:pt x="0" y="2340"/>
                  </a:lnTo>
                  <a:close/>
                  <a:moveTo>
                    <a:pt x="0" y="1560"/>
                  </a:moveTo>
                  <a:lnTo>
                    <a:pt x="275" y="1560"/>
                  </a:lnTo>
                  <a:lnTo>
                    <a:pt x="275" y="1584"/>
                  </a:lnTo>
                  <a:lnTo>
                    <a:pt x="0" y="1584"/>
                  </a:lnTo>
                  <a:lnTo>
                    <a:pt x="0" y="1560"/>
                  </a:lnTo>
                  <a:close/>
                  <a:moveTo>
                    <a:pt x="0" y="780"/>
                  </a:moveTo>
                  <a:lnTo>
                    <a:pt x="275" y="780"/>
                  </a:lnTo>
                  <a:lnTo>
                    <a:pt x="275" y="805"/>
                  </a:lnTo>
                  <a:lnTo>
                    <a:pt x="0" y="805"/>
                  </a:lnTo>
                  <a:lnTo>
                    <a:pt x="0" y="780"/>
                  </a:lnTo>
                  <a:close/>
                  <a:moveTo>
                    <a:pt x="0" y="2939"/>
                  </a:moveTo>
                  <a:lnTo>
                    <a:pt x="160" y="2939"/>
                  </a:lnTo>
                  <a:lnTo>
                    <a:pt x="160" y="2964"/>
                  </a:lnTo>
                  <a:lnTo>
                    <a:pt x="0" y="2964"/>
                  </a:lnTo>
                  <a:lnTo>
                    <a:pt x="0" y="2939"/>
                  </a:lnTo>
                  <a:close/>
                  <a:moveTo>
                    <a:pt x="0" y="2160"/>
                  </a:moveTo>
                  <a:lnTo>
                    <a:pt x="160" y="2160"/>
                  </a:lnTo>
                  <a:lnTo>
                    <a:pt x="160" y="2184"/>
                  </a:lnTo>
                  <a:lnTo>
                    <a:pt x="0" y="2184"/>
                  </a:lnTo>
                  <a:lnTo>
                    <a:pt x="0" y="2160"/>
                  </a:lnTo>
                  <a:close/>
                  <a:moveTo>
                    <a:pt x="0" y="1381"/>
                  </a:moveTo>
                  <a:lnTo>
                    <a:pt x="160" y="1381"/>
                  </a:lnTo>
                  <a:lnTo>
                    <a:pt x="160" y="1406"/>
                  </a:lnTo>
                  <a:lnTo>
                    <a:pt x="0" y="1406"/>
                  </a:lnTo>
                  <a:lnTo>
                    <a:pt x="0" y="1381"/>
                  </a:lnTo>
                  <a:close/>
                  <a:moveTo>
                    <a:pt x="0" y="2797"/>
                  </a:moveTo>
                  <a:lnTo>
                    <a:pt x="160" y="2797"/>
                  </a:lnTo>
                  <a:lnTo>
                    <a:pt x="160" y="2820"/>
                  </a:lnTo>
                  <a:lnTo>
                    <a:pt x="0" y="2820"/>
                  </a:lnTo>
                  <a:lnTo>
                    <a:pt x="0" y="2797"/>
                  </a:lnTo>
                  <a:close/>
                  <a:moveTo>
                    <a:pt x="0" y="2017"/>
                  </a:moveTo>
                  <a:lnTo>
                    <a:pt x="160" y="2017"/>
                  </a:lnTo>
                  <a:lnTo>
                    <a:pt x="160" y="2041"/>
                  </a:lnTo>
                  <a:lnTo>
                    <a:pt x="0" y="2041"/>
                  </a:lnTo>
                  <a:lnTo>
                    <a:pt x="0" y="2017"/>
                  </a:lnTo>
                  <a:close/>
                  <a:moveTo>
                    <a:pt x="0" y="1237"/>
                  </a:moveTo>
                  <a:lnTo>
                    <a:pt x="160" y="1237"/>
                  </a:lnTo>
                  <a:lnTo>
                    <a:pt x="160" y="1262"/>
                  </a:lnTo>
                  <a:lnTo>
                    <a:pt x="0" y="1262"/>
                  </a:lnTo>
                  <a:lnTo>
                    <a:pt x="0" y="1237"/>
                  </a:lnTo>
                  <a:close/>
                  <a:moveTo>
                    <a:pt x="0" y="2653"/>
                  </a:moveTo>
                  <a:lnTo>
                    <a:pt x="160" y="2653"/>
                  </a:lnTo>
                  <a:lnTo>
                    <a:pt x="160" y="2677"/>
                  </a:lnTo>
                  <a:lnTo>
                    <a:pt x="0" y="2677"/>
                  </a:lnTo>
                  <a:lnTo>
                    <a:pt x="0" y="2653"/>
                  </a:lnTo>
                  <a:close/>
                  <a:moveTo>
                    <a:pt x="0" y="1873"/>
                  </a:moveTo>
                  <a:lnTo>
                    <a:pt x="160" y="1873"/>
                  </a:lnTo>
                  <a:lnTo>
                    <a:pt x="160" y="1897"/>
                  </a:lnTo>
                  <a:lnTo>
                    <a:pt x="0" y="1897"/>
                  </a:lnTo>
                  <a:lnTo>
                    <a:pt x="0" y="1873"/>
                  </a:lnTo>
                  <a:close/>
                  <a:moveTo>
                    <a:pt x="0" y="1093"/>
                  </a:moveTo>
                  <a:lnTo>
                    <a:pt x="160" y="1093"/>
                  </a:lnTo>
                  <a:lnTo>
                    <a:pt x="160" y="1118"/>
                  </a:lnTo>
                  <a:lnTo>
                    <a:pt x="0" y="1118"/>
                  </a:lnTo>
                  <a:lnTo>
                    <a:pt x="0" y="1093"/>
                  </a:lnTo>
                  <a:close/>
                  <a:moveTo>
                    <a:pt x="0" y="2509"/>
                  </a:moveTo>
                  <a:lnTo>
                    <a:pt x="160" y="2509"/>
                  </a:lnTo>
                  <a:lnTo>
                    <a:pt x="160" y="2533"/>
                  </a:lnTo>
                  <a:lnTo>
                    <a:pt x="0" y="2533"/>
                  </a:lnTo>
                  <a:lnTo>
                    <a:pt x="0" y="2509"/>
                  </a:lnTo>
                  <a:close/>
                  <a:moveTo>
                    <a:pt x="0" y="1730"/>
                  </a:moveTo>
                  <a:lnTo>
                    <a:pt x="160" y="1730"/>
                  </a:lnTo>
                  <a:lnTo>
                    <a:pt x="160" y="1754"/>
                  </a:lnTo>
                  <a:lnTo>
                    <a:pt x="0" y="1754"/>
                  </a:lnTo>
                  <a:lnTo>
                    <a:pt x="0" y="1730"/>
                  </a:lnTo>
                  <a:close/>
                  <a:moveTo>
                    <a:pt x="0" y="950"/>
                  </a:moveTo>
                  <a:lnTo>
                    <a:pt x="160" y="950"/>
                  </a:lnTo>
                  <a:lnTo>
                    <a:pt x="160" y="975"/>
                  </a:lnTo>
                  <a:lnTo>
                    <a:pt x="0" y="975"/>
                  </a:lnTo>
                  <a:lnTo>
                    <a:pt x="0" y="950"/>
                  </a:lnTo>
                  <a:close/>
                  <a:moveTo>
                    <a:pt x="0" y="0"/>
                  </a:moveTo>
                  <a:lnTo>
                    <a:pt x="275" y="0"/>
                  </a:lnTo>
                  <a:lnTo>
                    <a:pt x="275" y="25"/>
                  </a:lnTo>
                  <a:lnTo>
                    <a:pt x="0" y="25"/>
                  </a:lnTo>
                  <a:lnTo>
                    <a:pt x="0" y="0"/>
                  </a:lnTo>
                  <a:close/>
                  <a:moveTo>
                    <a:pt x="0" y="601"/>
                  </a:moveTo>
                  <a:lnTo>
                    <a:pt x="160" y="601"/>
                  </a:lnTo>
                  <a:lnTo>
                    <a:pt x="160" y="626"/>
                  </a:lnTo>
                  <a:lnTo>
                    <a:pt x="0" y="626"/>
                  </a:lnTo>
                  <a:lnTo>
                    <a:pt x="0" y="601"/>
                  </a:lnTo>
                  <a:close/>
                  <a:moveTo>
                    <a:pt x="0" y="458"/>
                  </a:moveTo>
                  <a:lnTo>
                    <a:pt x="160" y="458"/>
                  </a:lnTo>
                  <a:lnTo>
                    <a:pt x="160" y="482"/>
                  </a:lnTo>
                  <a:lnTo>
                    <a:pt x="0" y="482"/>
                  </a:lnTo>
                  <a:lnTo>
                    <a:pt x="0" y="458"/>
                  </a:lnTo>
                  <a:close/>
                  <a:moveTo>
                    <a:pt x="0" y="315"/>
                  </a:moveTo>
                  <a:lnTo>
                    <a:pt x="160" y="315"/>
                  </a:lnTo>
                  <a:lnTo>
                    <a:pt x="160" y="338"/>
                  </a:lnTo>
                  <a:lnTo>
                    <a:pt x="0" y="338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6" name="Rectangle 33"/>
          <p:cNvSpPr>
            <a:spLocks/>
          </p:cNvSpPr>
          <p:nvPr/>
        </p:nvSpPr>
        <p:spPr bwMode="auto">
          <a:xfrm>
            <a:off x="1141907" y="4958038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68" name="Rectangle 33"/>
          <p:cNvSpPr>
            <a:spLocks/>
          </p:cNvSpPr>
          <p:nvPr/>
        </p:nvSpPr>
        <p:spPr bwMode="auto">
          <a:xfrm>
            <a:off x="1141907" y="21055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3028950" y="2465675"/>
            <a:ext cx="1475289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3028950" y="5263195"/>
            <a:ext cx="1475289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028950" y="3348650"/>
            <a:ext cx="1475289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5400000">
            <a:off x="2673116" y="2385388"/>
            <a:ext cx="747345" cy="160573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 rot="5400000">
            <a:off x="2677015" y="3273674"/>
            <a:ext cx="747345" cy="160573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 rot="5400000">
            <a:off x="2673116" y="5190464"/>
            <a:ext cx="747345" cy="160573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ight Triangle 23"/>
          <p:cNvSpPr/>
          <p:nvPr/>
        </p:nvSpPr>
        <p:spPr>
          <a:xfrm rot="5400000">
            <a:off x="7624792" y="2863993"/>
            <a:ext cx="184150" cy="184150"/>
          </a:xfrm>
          <a:prstGeom prst="rtTriangle">
            <a:avLst/>
          </a:prstGeom>
          <a:solidFill>
            <a:srgbClr val="0A51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Triangle 24"/>
          <p:cNvSpPr/>
          <p:nvPr/>
        </p:nvSpPr>
        <p:spPr>
          <a:xfrm rot="16200000" flipH="1">
            <a:off x="5557868" y="2863993"/>
            <a:ext cx="184150" cy="184150"/>
          </a:xfrm>
          <a:prstGeom prst="rtTriangle">
            <a:avLst/>
          </a:prstGeom>
          <a:solidFill>
            <a:srgbClr val="0A51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5714476" y="2365110"/>
            <a:ext cx="1923166" cy="2959100"/>
          </a:xfrm>
          <a:prstGeom prst="rect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557867" y="2465675"/>
            <a:ext cx="2251075" cy="398318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Rectangle 33"/>
          <p:cNvSpPr>
            <a:spLocks/>
          </p:cNvSpPr>
          <p:nvPr/>
        </p:nvSpPr>
        <p:spPr bwMode="auto">
          <a:xfrm>
            <a:off x="5808693" y="3175120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374951" y="2494403"/>
            <a:ext cx="60221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GOA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0" name="Rectangle 33"/>
          <p:cNvSpPr>
            <a:spLocks/>
          </p:cNvSpPr>
          <p:nvPr/>
        </p:nvSpPr>
        <p:spPr bwMode="auto">
          <a:xfrm>
            <a:off x="5808693" y="4181219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31" name="Rectangle 33"/>
          <p:cNvSpPr>
            <a:spLocks/>
          </p:cNvSpPr>
          <p:nvPr/>
        </p:nvSpPr>
        <p:spPr bwMode="auto">
          <a:xfrm>
            <a:off x="1141907" y="3086215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724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5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2172690" y="4499498"/>
            <a:ext cx="928635" cy="510540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098733" y="3985204"/>
            <a:ext cx="928635" cy="1024834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024776" y="3486150"/>
            <a:ext cx="928635" cy="1523888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950819" y="2971856"/>
            <a:ext cx="928635" cy="2038182"/>
          </a:xfrm>
          <a:prstGeom prst="rect">
            <a:avLst/>
          </a:prstGeom>
          <a:solidFill>
            <a:srgbClr val="7F7F7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79454" y="2457562"/>
            <a:ext cx="928635" cy="2552476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279797" y="4587203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Set Goal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181967" y="4067485"/>
            <a:ext cx="7841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Make Plan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058008" y="3584165"/>
            <a:ext cx="8883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Get to Work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077515" y="3073625"/>
            <a:ext cx="7168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Stick to It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951480" y="2467091"/>
            <a:ext cx="7458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</a:rPr>
              <a:t>REACH GOAL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48" name="Rectangle 33"/>
          <p:cNvSpPr>
            <a:spLocks/>
          </p:cNvSpPr>
          <p:nvPr/>
        </p:nvSpPr>
        <p:spPr bwMode="auto">
          <a:xfrm>
            <a:off x="1867552" y="5025261"/>
            <a:ext cx="1485248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49" name="Rectangle 33"/>
          <p:cNvSpPr>
            <a:spLocks/>
          </p:cNvSpPr>
          <p:nvPr/>
        </p:nvSpPr>
        <p:spPr bwMode="auto">
          <a:xfrm>
            <a:off x="6880115" y="2467091"/>
            <a:ext cx="1375644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4314290" y="3073625"/>
            <a:ext cx="404074" cy="370709"/>
            <a:chOff x="-1447800" y="2895600"/>
            <a:chExt cx="346075" cy="317501"/>
          </a:xfrm>
          <a:solidFill>
            <a:schemeClr val="tx1">
              <a:lumMod val="75000"/>
              <a:lumOff val="25000"/>
            </a:schemeClr>
          </a:solidFill>
          <a:effectLst/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-1447800" y="2895600"/>
              <a:ext cx="225425" cy="227013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  <p:sp>
          <p:nvSpPr>
            <p:cNvPr id="55" name="Freeform 6"/>
            <p:cNvSpPr>
              <a:spLocks noEditPoints="1"/>
            </p:cNvSpPr>
            <p:nvPr/>
          </p:nvSpPr>
          <p:spPr bwMode="auto">
            <a:xfrm>
              <a:off x="-1262063" y="3052763"/>
              <a:ext cx="160338" cy="160338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</p:grpSp>
      <p:grpSp>
        <p:nvGrpSpPr>
          <p:cNvPr id="56" name="Group 7"/>
          <p:cNvGrpSpPr>
            <a:grpSpLocks noChangeAspect="1"/>
          </p:cNvGrpSpPr>
          <p:nvPr/>
        </p:nvGrpSpPr>
        <p:grpSpPr bwMode="auto">
          <a:xfrm>
            <a:off x="5282653" y="2434072"/>
            <a:ext cx="387299" cy="486900"/>
            <a:chOff x="1590" y="634"/>
            <a:chExt cx="2197" cy="2762"/>
          </a:xfrm>
          <a:solidFill>
            <a:schemeClr val="tx1">
              <a:lumMod val="75000"/>
              <a:lumOff val="25000"/>
            </a:schemeClr>
          </a:solidFill>
          <a:effectLst/>
        </p:grpSpPr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2216" y="634"/>
              <a:ext cx="552" cy="552"/>
            </a:xfrm>
            <a:custGeom>
              <a:avLst/>
              <a:gdLst>
                <a:gd name="T0" fmla="*/ 1825 w 3312"/>
                <a:gd name="T1" fmla="*/ 8 h 3311"/>
                <a:gd name="T2" fmla="*/ 2070 w 3312"/>
                <a:gd name="T3" fmla="*/ 52 h 3311"/>
                <a:gd name="T4" fmla="*/ 2301 w 3312"/>
                <a:gd name="T5" fmla="*/ 131 h 3311"/>
                <a:gd name="T6" fmla="*/ 2514 w 3312"/>
                <a:gd name="T7" fmla="*/ 239 h 3311"/>
                <a:gd name="T8" fmla="*/ 2709 w 3312"/>
                <a:gd name="T9" fmla="*/ 378 h 3311"/>
                <a:gd name="T10" fmla="*/ 2882 w 3312"/>
                <a:gd name="T11" fmla="*/ 543 h 3311"/>
                <a:gd name="T12" fmla="*/ 3029 w 3312"/>
                <a:gd name="T13" fmla="*/ 730 h 3311"/>
                <a:gd name="T14" fmla="*/ 3148 w 3312"/>
                <a:gd name="T15" fmla="*/ 937 h 3311"/>
                <a:gd name="T16" fmla="*/ 3237 w 3312"/>
                <a:gd name="T17" fmla="*/ 1163 h 3311"/>
                <a:gd name="T18" fmla="*/ 3292 w 3312"/>
                <a:gd name="T19" fmla="*/ 1403 h 3311"/>
                <a:gd name="T20" fmla="*/ 3312 w 3312"/>
                <a:gd name="T21" fmla="*/ 1655 h 3311"/>
                <a:gd name="T22" fmla="*/ 3292 w 3312"/>
                <a:gd name="T23" fmla="*/ 1908 h 3311"/>
                <a:gd name="T24" fmla="*/ 3237 w 3312"/>
                <a:gd name="T25" fmla="*/ 2148 h 3311"/>
                <a:gd name="T26" fmla="*/ 3148 w 3312"/>
                <a:gd name="T27" fmla="*/ 2373 h 3311"/>
                <a:gd name="T28" fmla="*/ 3029 w 3312"/>
                <a:gd name="T29" fmla="*/ 2581 h 3311"/>
                <a:gd name="T30" fmla="*/ 2882 w 3312"/>
                <a:gd name="T31" fmla="*/ 2769 h 3311"/>
                <a:gd name="T32" fmla="*/ 2709 w 3312"/>
                <a:gd name="T33" fmla="*/ 2933 h 3311"/>
                <a:gd name="T34" fmla="*/ 2514 w 3312"/>
                <a:gd name="T35" fmla="*/ 3071 h 3311"/>
                <a:gd name="T36" fmla="*/ 2301 w 3312"/>
                <a:gd name="T37" fmla="*/ 3181 h 3311"/>
                <a:gd name="T38" fmla="*/ 2070 w 3312"/>
                <a:gd name="T39" fmla="*/ 3258 h 3311"/>
                <a:gd name="T40" fmla="*/ 1825 w 3312"/>
                <a:gd name="T41" fmla="*/ 3302 h 3311"/>
                <a:gd name="T42" fmla="*/ 1570 w 3312"/>
                <a:gd name="T43" fmla="*/ 3308 h 3311"/>
                <a:gd name="T44" fmla="*/ 1322 w 3312"/>
                <a:gd name="T45" fmla="*/ 3277 h 3311"/>
                <a:gd name="T46" fmla="*/ 1087 w 3312"/>
                <a:gd name="T47" fmla="*/ 3211 h 3311"/>
                <a:gd name="T48" fmla="*/ 867 w 3312"/>
                <a:gd name="T49" fmla="*/ 3111 h 3311"/>
                <a:gd name="T50" fmla="*/ 665 w 3312"/>
                <a:gd name="T51" fmla="*/ 2982 h 3311"/>
                <a:gd name="T52" fmla="*/ 485 w 3312"/>
                <a:gd name="T53" fmla="*/ 2826 h 3311"/>
                <a:gd name="T54" fmla="*/ 329 w 3312"/>
                <a:gd name="T55" fmla="*/ 2646 h 3311"/>
                <a:gd name="T56" fmla="*/ 200 w 3312"/>
                <a:gd name="T57" fmla="*/ 2444 h 3311"/>
                <a:gd name="T58" fmla="*/ 100 w 3312"/>
                <a:gd name="T59" fmla="*/ 2225 h 3311"/>
                <a:gd name="T60" fmla="*/ 34 w 3312"/>
                <a:gd name="T61" fmla="*/ 1989 h 3311"/>
                <a:gd name="T62" fmla="*/ 2 w 3312"/>
                <a:gd name="T63" fmla="*/ 1741 h 3311"/>
                <a:gd name="T64" fmla="*/ 9 w 3312"/>
                <a:gd name="T65" fmla="*/ 1486 h 3311"/>
                <a:gd name="T66" fmla="*/ 53 w 3312"/>
                <a:gd name="T67" fmla="*/ 1242 h 3311"/>
                <a:gd name="T68" fmla="*/ 130 w 3312"/>
                <a:gd name="T69" fmla="*/ 1011 h 3311"/>
                <a:gd name="T70" fmla="*/ 240 w 3312"/>
                <a:gd name="T71" fmla="*/ 798 h 3311"/>
                <a:gd name="T72" fmla="*/ 378 w 3312"/>
                <a:gd name="T73" fmla="*/ 603 h 3311"/>
                <a:gd name="T74" fmla="*/ 543 w 3312"/>
                <a:gd name="T75" fmla="*/ 430 h 3311"/>
                <a:gd name="T76" fmla="*/ 730 w 3312"/>
                <a:gd name="T77" fmla="*/ 283 h 3311"/>
                <a:gd name="T78" fmla="*/ 938 w 3312"/>
                <a:gd name="T79" fmla="*/ 164 h 3311"/>
                <a:gd name="T80" fmla="*/ 1163 w 3312"/>
                <a:gd name="T81" fmla="*/ 75 h 3311"/>
                <a:gd name="T82" fmla="*/ 1404 w 3312"/>
                <a:gd name="T83" fmla="*/ 19 h 3311"/>
                <a:gd name="T84" fmla="*/ 1656 w 3312"/>
                <a:gd name="T85" fmla="*/ 0 h 3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2" h="3311">
                  <a:moveTo>
                    <a:pt x="1656" y="0"/>
                  </a:moveTo>
                  <a:lnTo>
                    <a:pt x="1741" y="2"/>
                  </a:lnTo>
                  <a:lnTo>
                    <a:pt x="1825" y="8"/>
                  </a:lnTo>
                  <a:lnTo>
                    <a:pt x="1908" y="19"/>
                  </a:lnTo>
                  <a:lnTo>
                    <a:pt x="1990" y="33"/>
                  </a:lnTo>
                  <a:lnTo>
                    <a:pt x="2070" y="52"/>
                  </a:lnTo>
                  <a:lnTo>
                    <a:pt x="2149" y="75"/>
                  </a:lnTo>
                  <a:lnTo>
                    <a:pt x="2225" y="100"/>
                  </a:lnTo>
                  <a:lnTo>
                    <a:pt x="2301" y="131"/>
                  </a:lnTo>
                  <a:lnTo>
                    <a:pt x="2373" y="164"/>
                  </a:lnTo>
                  <a:lnTo>
                    <a:pt x="2445" y="200"/>
                  </a:lnTo>
                  <a:lnTo>
                    <a:pt x="2514" y="239"/>
                  </a:lnTo>
                  <a:lnTo>
                    <a:pt x="2582" y="283"/>
                  </a:lnTo>
                  <a:lnTo>
                    <a:pt x="2647" y="329"/>
                  </a:lnTo>
                  <a:lnTo>
                    <a:pt x="2709" y="378"/>
                  </a:lnTo>
                  <a:lnTo>
                    <a:pt x="2769" y="430"/>
                  </a:lnTo>
                  <a:lnTo>
                    <a:pt x="2827" y="485"/>
                  </a:lnTo>
                  <a:lnTo>
                    <a:pt x="2882" y="543"/>
                  </a:lnTo>
                  <a:lnTo>
                    <a:pt x="2934" y="603"/>
                  </a:lnTo>
                  <a:lnTo>
                    <a:pt x="2983" y="665"/>
                  </a:lnTo>
                  <a:lnTo>
                    <a:pt x="3029" y="730"/>
                  </a:lnTo>
                  <a:lnTo>
                    <a:pt x="3072" y="798"/>
                  </a:lnTo>
                  <a:lnTo>
                    <a:pt x="3112" y="866"/>
                  </a:lnTo>
                  <a:lnTo>
                    <a:pt x="3148" y="937"/>
                  </a:lnTo>
                  <a:lnTo>
                    <a:pt x="3182" y="1011"/>
                  </a:lnTo>
                  <a:lnTo>
                    <a:pt x="3212" y="1087"/>
                  </a:lnTo>
                  <a:lnTo>
                    <a:pt x="3237" y="1163"/>
                  </a:lnTo>
                  <a:lnTo>
                    <a:pt x="3259" y="1242"/>
                  </a:lnTo>
                  <a:lnTo>
                    <a:pt x="3278" y="1322"/>
                  </a:lnTo>
                  <a:lnTo>
                    <a:pt x="3292" y="1403"/>
                  </a:lnTo>
                  <a:lnTo>
                    <a:pt x="3304" y="1486"/>
                  </a:lnTo>
                  <a:lnTo>
                    <a:pt x="3310" y="1570"/>
                  </a:lnTo>
                  <a:lnTo>
                    <a:pt x="3312" y="1655"/>
                  </a:lnTo>
                  <a:lnTo>
                    <a:pt x="3310" y="1741"/>
                  </a:lnTo>
                  <a:lnTo>
                    <a:pt x="3304" y="1825"/>
                  </a:lnTo>
                  <a:lnTo>
                    <a:pt x="3292" y="1908"/>
                  </a:lnTo>
                  <a:lnTo>
                    <a:pt x="3278" y="1989"/>
                  </a:lnTo>
                  <a:lnTo>
                    <a:pt x="3259" y="2069"/>
                  </a:lnTo>
                  <a:lnTo>
                    <a:pt x="3237" y="2148"/>
                  </a:lnTo>
                  <a:lnTo>
                    <a:pt x="3212" y="2225"/>
                  </a:lnTo>
                  <a:lnTo>
                    <a:pt x="3182" y="2299"/>
                  </a:lnTo>
                  <a:lnTo>
                    <a:pt x="3148" y="2373"/>
                  </a:lnTo>
                  <a:lnTo>
                    <a:pt x="3112" y="2444"/>
                  </a:lnTo>
                  <a:lnTo>
                    <a:pt x="3072" y="2514"/>
                  </a:lnTo>
                  <a:lnTo>
                    <a:pt x="3029" y="2581"/>
                  </a:lnTo>
                  <a:lnTo>
                    <a:pt x="2983" y="2646"/>
                  </a:lnTo>
                  <a:lnTo>
                    <a:pt x="2934" y="2708"/>
                  </a:lnTo>
                  <a:lnTo>
                    <a:pt x="2882" y="2769"/>
                  </a:lnTo>
                  <a:lnTo>
                    <a:pt x="2827" y="2826"/>
                  </a:lnTo>
                  <a:lnTo>
                    <a:pt x="2769" y="2880"/>
                  </a:lnTo>
                  <a:lnTo>
                    <a:pt x="2709" y="2933"/>
                  </a:lnTo>
                  <a:lnTo>
                    <a:pt x="2647" y="2982"/>
                  </a:lnTo>
                  <a:lnTo>
                    <a:pt x="2582" y="3029"/>
                  </a:lnTo>
                  <a:lnTo>
                    <a:pt x="2514" y="3071"/>
                  </a:lnTo>
                  <a:lnTo>
                    <a:pt x="2445" y="3111"/>
                  </a:lnTo>
                  <a:lnTo>
                    <a:pt x="2373" y="3148"/>
                  </a:lnTo>
                  <a:lnTo>
                    <a:pt x="2301" y="3181"/>
                  </a:lnTo>
                  <a:lnTo>
                    <a:pt x="2225" y="3211"/>
                  </a:lnTo>
                  <a:lnTo>
                    <a:pt x="2149" y="3237"/>
                  </a:lnTo>
                  <a:lnTo>
                    <a:pt x="2070" y="3258"/>
                  </a:lnTo>
                  <a:lnTo>
                    <a:pt x="1990" y="3277"/>
                  </a:lnTo>
                  <a:lnTo>
                    <a:pt x="1908" y="3292"/>
                  </a:lnTo>
                  <a:lnTo>
                    <a:pt x="1825" y="3302"/>
                  </a:lnTo>
                  <a:lnTo>
                    <a:pt x="1741" y="3308"/>
                  </a:lnTo>
                  <a:lnTo>
                    <a:pt x="1656" y="3311"/>
                  </a:lnTo>
                  <a:lnTo>
                    <a:pt x="1570" y="3308"/>
                  </a:lnTo>
                  <a:lnTo>
                    <a:pt x="1487" y="3302"/>
                  </a:lnTo>
                  <a:lnTo>
                    <a:pt x="1404" y="3292"/>
                  </a:lnTo>
                  <a:lnTo>
                    <a:pt x="1322" y="3277"/>
                  </a:lnTo>
                  <a:lnTo>
                    <a:pt x="1242" y="3258"/>
                  </a:lnTo>
                  <a:lnTo>
                    <a:pt x="1163" y="3237"/>
                  </a:lnTo>
                  <a:lnTo>
                    <a:pt x="1087" y="3211"/>
                  </a:lnTo>
                  <a:lnTo>
                    <a:pt x="1011" y="3181"/>
                  </a:lnTo>
                  <a:lnTo>
                    <a:pt x="938" y="3148"/>
                  </a:lnTo>
                  <a:lnTo>
                    <a:pt x="867" y="3111"/>
                  </a:lnTo>
                  <a:lnTo>
                    <a:pt x="798" y="3071"/>
                  </a:lnTo>
                  <a:lnTo>
                    <a:pt x="730" y="3029"/>
                  </a:lnTo>
                  <a:lnTo>
                    <a:pt x="665" y="2982"/>
                  </a:lnTo>
                  <a:lnTo>
                    <a:pt x="603" y="2933"/>
                  </a:lnTo>
                  <a:lnTo>
                    <a:pt x="543" y="2880"/>
                  </a:lnTo>
                  <a:lnTo>
                    <a:pt x="485" y="2826"/>
                  </a:lnTo>
                  <a:lnTo>
                    <a:pt x="431" y="2769"/>
                  </a:lnTo>
                  <a:lnTo>
                    <a:pt x="378" y="2708"/>
                  </a:lnTo>
                  <a:lnTo>
                    <a:pt x="329" y="2646"/>
                  </a:lnTo>
                  <a:lnTo>
                    <a:pt x="283" y="2581"/>
                  </a:lnTo>
                  <a:lnTo>
                    <a:pt x="240" y="2514"/>
                  </a:lnTo>
                  <a:lnTo>
                    <a:pt x="200" y="2444"/>
                  </a:lnTo>
                  <a:lnTo>
                    <a:pt x="163" y="2373"/>
                  </a:lnTo>
                  <a:lnTo>
                    <a:pt x="130" y="2299"/>
                  </a:lnTo>
                  <a:lnTo>
                    <a:pt x="100" y="2225"/>
                  </a:lnTo>
                  <a:lnTo>
                    <a:pt x="74" y="2148"/>
                  </a:lnTo>
                  <a:lnTo>
                    <a:pt x="53" y="2069"/>
                  </a:lnTo>
                  <a:lnTo>
                    <a:pt x="34" y="1989"/>
                  </a:lnTo>
                  <a:lnTo>
                    <a:pt x="19" y="1908"/>
                  </a:lnTo>
                  <a:lnTo>
                    <a:pt x="9" y="1825"/>
                  </a:lnTo>
                  <a:lnTo>
                    <a:pt x="2" y="1741"/>
                  </a:lnTo>
                  <a:lnTo>
                    <a:pt x="0" y="1655"/>
                  </a:lnTo>
                  <a:lnTo>
                    <a:pt x="2" y="1570"/>
                  </a:lnTo>
                  <a:lnTo>
                    <a:pt x="9" y="1486"/>
                  </a:lnTo>
                  <a:lnTo>
                    <a:pt x="19" y="1403"/>
                  </a:lnTo>
                  <a:lnTo>
                    <a:pt x="34" y="1322"/>
                  </a:lnTo>
                  <a:lnTo>
                    <a:pt x="53" y="1242"/>
                  </a:lnTo>
                  <a:lnTo>
                    <a:pt x="74" y="1163"/>
                  </a:lnTo>
                  <a:lnTo>
                    <a:pt x="100" y="1087"/>
                  </a:lnTo>
                  <a:lnTo>
                    <a:pt x="130" y="1011"/>
                  </a:lnTo>
                  <a:lnTo>
                    <a:pt x="163" y="937"/>
                  </a:lnTo>
                  <a:lnTo>
                    <a:pt x="200" y="866"/>
                  </a:lnTo>
                  <a:lnTo>
                    <a:pt x="240" y="798"/>
                  </a:lnTo>
                  <a:lnTo>
                    <a:pt x="283" y="730"/>
                  </a:lnTo>
                  <a:lnTo>
                    <a:pt x="329" y="665"/>
                  </a:lnTo>
                  <a:lnTo>
                    <a:pt x="378" y="603"/>
                  </a:lnTo>
                  <a:lnTo>
                    <a:pt x="431" y="543"/>
                  </a:lnTo>
                  <a:lnTo>
                    <a:pt x="485" y="485"/>
                  </a:lnTo>
                  <a:lnTo>
                    <a:pt x="543" y="430"/>
                  </a:lnTo>
                  <a:lnTo>
                    <a:pt x="603" y="378"/>
                  </a:lnTo>
                  <a:lnTo>
                    <a:pt x="665" y="329"/>
                  </a:lnTo>
                  <a:lnTo>
                    <a:pt x="730" y="283"/>
                  </a:lnTo>
                  <a:lnTo>
                    <a:pt x="798" y="239"/>
                  </a:lnTo>
                  <a:lnTo>
                    <a:pt x="867" y="200"/>
                  </a:lnTo>
                  <a:lnTo>
                    <a:pt x="938" y="164"/>
                  </a:lnTo>
                  <a:lnTo>
                    <a:pt x="1011" y="131"/>
                  </a:lnTo>
                  <a:lnTo>
                    <a:pt x="1087" y="100"/>
                  </a:lnTo>
                  <a:lnTo>
                    <a:pt x="1163" y="75"/>
                  </a:lnTo>
                  <a:lnTo>
                    <a:pt x="1242" y="52"/>
                  </a:lnTo>
                  <a:lnTo>
                    <a:pt x="1322" y="33"/>
                  </a:lnTo>
                  <a:lnTo>
                    <a:pt x="1404" y="19"/>
                  </a:lnTo>
                  <a:lnTo>
                    <a:pt x="1487" y="8"/>
                  </a:lnTo>
                  <a:lnTo>
                    <a:pt x="1570" y="2"/>
                  </a:lnTo>
                  <a:lnTo>
                    <a:pt x="16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9"/>
            <p:cNvSpPr>
              <a:spLocks/>
            </p:cNvSpPr>
            <p:nvPr/>
          </p:nvSpPr>
          <p:spPr bwMode="auto">
            <a:xfrm>
              <a:off x="2427" y="1310"/>
              <a:ext cx="496" cy="444"/>
            </a:xfrm>
            <a:custGeom>
              <a:avLst/>
              <a:gdLst>
                <a:gd name="T0" fmla="*/ 130 w 2979"/>
                <a:gd name="T1" fmla="*/ 153 h 2665"/>
                <a:gd name="T2" fmla="*/ 184 w 2979"/>
                <a:gd name="T3" fmla="*/ 105 h 2665"/>
                <a:gd name="T4" fmla="*/ 244 w 2979"/>
                <a:gd name="T5" fmla="*/ 64 h 2665"/>
                <a:gd name="T6" fmla="*/ 308 w 2979"/>
                <a:gd name="T7" fmla="*/ 34 h 2665"/>
                <a:gd name="T8" fmla="*/ 375 w 2979"/>
                <a:gd name="T9" fmla="*/ 13 h 2665"/>
                <a:gd name="T10" fmla="*/ 444 w 2979"/>
                <a:gd name="T11" fmla="*/ 2 h 2665"/>
                <a:gd name="T12" fmla="*/ 514 w 2979"/>
                <a:gd name="T13" fmla="*/ 1 h 2665"/>
                <a:gd name="T14" fmla="*/ 584 w 2979"/>
                <a:gd name="T15" fmla="*/ 10 h 2665"/>
                <a:gd name="T16" fmla="*/ 653 w 2979"/>
                <a:gd name="T17" fmla="*/ 30 h 2665"/>
                <a:gd name="T18" fmla="*/ 718 w 2979"/>
                <a:gd name="T19" fmla="*/ 59 h 2665"/>
                <a:gd name="T20" fmla="*/ 779 w 2979"/>
                <a:gd name="T21" fmla="*/ 98 h 2665"/>
                <a:gd name="T22" fmla="*/ 2825 w 2979"/>
                <a:gd name="T23" fmla="*/ 1825 h 2665"/>
                <a:gd name="T24" fmla="*/ 2875 w 2979"/>
                <a:gd name="T25" fmla="*/ 1879 h 2665"/>
                <a:gd name="T26" fmla="*/ 2915 w 2979"/>
                <a:gd name="T27" fmla="*/ 1939 h 2665"/>
                <a:gd name="T28" fmla="*/ 2945 w 2979"/>
                <a:gd name="T29" fmla="*/ 2003 h 2665"/>
                <a:gd name="T30" fmla="*/ 2966 w 2979"/>
                <a:gd name="T31" fmla="*/ 2069 h 2665"/>
                <a:gd name="T32" fmla="*/ 2977 w 2979"/>
                <a:gd name="T33" fmla="*/ 2139 h 2665"/>
                <a:gd name="T34" fmla="*/ 2977 w 2979"/>
                <a:gd name="T35" fmla="*/ 2209 h 2665"/>
                <a:gd name="T36" fmla="*/ 2969 w 2979"/>
                <a:gd name="T37" fmla="*/ 2279 h 2665"/>
                <a:gd name="T38" fmla="*/ 2949 w 2979"/>
                <a:gd name="T39" fmla="*/ 2347 h 2665"/>
                <a:gd name="T40" fmla="*/ 2920 w 2979"/>
                <a:gd name="T41" fmla="*/ 2412 h 2665"/>
                <a:gd name="T42" fmla="*/ 2880 w 2979"/>
                <a:gd name="T43" fmla="*/ 2473 h 2665"/>
                <a:gd name="T44" fmla="*/ 2848 w 2979"/>
                <a:gd name="T45" fmla="*/ 2512 h 2665"/>
                <a:gd name="T46" fmla="*/ 2794 w 2979"/>
                <a:gd name="T47" fmla="*/ 2561 h 2665"/>
                <a:gd name="T48" fmla="*/ 2735 w 2979"/>
                <a:gd name="T49" fmla="*/ 2602 h 2665"/>
                <a:gd name="T50" fmla="*/ 2671 w 2979"/>
                <a:gd name="T51" fmla="*/ 2632 h 2665"/>
                <a:gd name="T52" fmla="*/ 2603 w 2979"/>
                <a:gd name="T53" fmla="*/ 2653 h 2665"/>
                <a:gd name="T54" fmla="*/ 2534 w 2979"/>
                <a:gd name="T55" fmla="*/ 2663 h 2665"/>
                <a:gd name="T56" fmla="*/ 2465 w 2979"/>
                <a:gd name="T57" fmla="*/ 2664 h 2665"/>
                <a:gd name="T58" fmla="*/ 2394 w 2979"/>
                <a:gd name="T59" fmla="*/ 2656 h 2665"/>
                <a:gd name="T60" fmla="*/ 2327 w 2979"/>
                <a:gd name="T61" fmla="*/ 2636 h 2665"/>
                <a:gd name="T62" fmla="*/ 2261 w 2979"/>
                <a:gd name="T63" fmla="*/ 2607 h 2665"/>
                <a:gd name="T64" fmla="*/ 2199 w 2979"/>
                <a:gd name="T65" fmla="*/ 2567 h 2665"/>
                <a:gd name="T66" fmla="*/ 153 w 2979"/>
                <a:gd name="T67" fmla="*/ 840 h 2665"/>
                <a:gd name="T68" fmla="*/ 103 w 2979"/>
                <a:gd name="T69" fmla="*/ 786 h 2665"/>
                <a:gd name="T70" fmla="*/ 63 w 2979"/>
                <a:gd name="T71" fmla="*/ 727 h 2665"/>
                <a:gd name="T72" fmla="*/ 33 w 2979"/>
                <a:gd name="T73" fmla="*/ 663 h 2665"/>
                <a:gd name="T74" fmla="*/ 12 w 2979"/>
                <a:gd name="T75" fmla="*/ 596 h 2665"/>
                <a:gd name="T76" fmla="*/ 2 w 2979"/>
                <a:gd name="T77" fmla="*/ 526 h 2665"/>
                <a:gd name="T78" fmla="*/ 1 w 2979"/>
                <a:gd name="T79" fmla="*/ 457 h 2665"/>
                <a:gd name="T80" fmla="*/ 9 w 2979"/>
                <a:gd name="T81" fmla="*/ 387 h 2665"/>
                <a:gd name="T82" fmla="*/ 29 w 2979"/>
                <a:gd name="T83" fmla="*/ 319 h 2665"/>
                <a:gd name="T84" fmla="*/ 58 w 2979"/>
                <a:gd name="T85" fmla="*/ 254 h 2665"/>
                <a:gd name="T86" fmla="*/ 98 w 2979"/>
                <a:gd name="T87" fmla="*/ 192 h 2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79" h="2665">
                  <a:moveTo>
                    <a:pt x="114" y="172"/>
                  </a:moveTo>
                  <a:lnTo>
                    <a:pt x="114" y="172"/>
                  </a:lnTo>
                  <a:lnTo>
                    <a:pt x="130" y="153"/>
                  </a:lnTo>
                  <a:lnTo>
                    <a:pt x="148" y="136"/>
                  </a:lnTo>
                  <a:lnTo>
                    <a:pt x="166" y="119"/>
                  </a:lnTo>
                  <a:lnTo>
                    <a:pt x="184" y="105"/>
                  </a:lnTo>
                  <a:lnTo>
                    <a:pt x="204" y="90"/>
                  </a:lnTo>
                  <a:lnTo>
                    <a:pt x="224" y="77"/>
                  </a:lnTo>
                  <a:lnTo>
                    <a:pt x="244" y="64"/>
                  </a:lnTo>
                  <a:lnTo>
                    <a:pt x="265" y="53"/>
                  </a:lnTo>
                  <a:lnTo>
                    <a:pt x="286" y="42"/>
                  </a:lnTo>
                  <a:lnTo>
                    <a:pt x="308" y="34"/>
                  </a:lnTo>
                  <a:lnTo>
                    <a:pt x="330" y="26"/>
                  </a:lnTo>
                  <a:lnTo>
                    <a:pt x="352" y="19"/>
                  </a:lnTo>
                  <a:lnTo>
                    <a:pt x="375" y="13"/>
                  </a:lnTo>
                  <a:lnTo>
                    <a:pt x="398" y="8"/>
                  </a:lnTo>
                  <a:lnTo>
                    <a:pt x="420" y="4"/>
                  </a:lnTo>
                  <a:lnTo>
                    <a:pt x="444" y="2"/>
                  </a:lnTo>
                  <a:lnTo>
                    <a:pt x="467" y="1"/>
                  </a:lnTo>
                  <a:lnTo>
                    <a:pt x="491" y="0"/>
                  </a:lnTo>
                  <a:lnTo>
                    <a:pt x="514" y="1"/>
                  </a:lnTo>
                  <a:lnTo>
                    <a:pt x="538" y="3"/>
                  </a:lnTo>
                  <a:lnTo>
                    <a:pt x="560" y="6"/>
                  </a:lnTo>
                  <a:lnTo>
                    <a:pt x="584" y="10"/>
                  </a:lnTo>
                  <a:lnTo>
                    <a:pt x="607" y="16"/>
                  </a:lnTo>
                  <a:lnTo>
                    <a:pt x="630" y="22"/>
                  </a:lnTo>
                  <a:lnTo>
                    <a:pt x="653" y="30"/>
                  </a:lnTo>
                  <a:lnTo>
                    <a:pt x="674" y="38"/>
                  </a:lnTo>
                  <a:lnTo>
                    <a:pt x="696" y="48"/>
                  </a:lnTo>
                  <a:lnTo>
                    <a:pt x="718" y="59"/>
                  </a:lnTo>
                  <a:lnTo>
                    <a:pt x="739" y="71"/>
                  </a:lnTo>
                  <a:lnTo>
                    <a:pt x="759" y="84"/>
                  </a:lnTo>
                  <a:lnTo>
                    <a:pt x="779" y="98"/>
                  </a:lnTo>
                  <a:lnTo>
                    <a:pt x="799" y="114"/>
                  </a:lnTo>
                  <a:lnTo>
                    <a:pt x="2807" y="1808"/>
                  </a:lnTo>
                  <a:lnTo>
                    <a:pt x="2825" y="1825"/>
                  </a:lnTo>
                  <a:lnTo>
                    <a:pt x="2843" y="1843"/>
                  </a:lnTo>
                  <a:lnTo>
                    <a:pt x="2859" y="1860"/>
                  </a:lnTo>
                  <a:lnTo>
                    <a:pt x="2875" y="1879"/>
                  </a:lnTo>
                  <a:lnTo>
                    <a:pt x="2889" y="1899"/>
                  </a:lnTo>
                  <a:lnTo>
                    <a:pt x="2903" y="1918"/>
                  </a:lnTo>
                  <a:lnTo>
                    <a:pt x="2915" y="1939"/>
                  </a:lnTo>
                  <a:lnTo>
                    <a:pt x="2927" y="1960"/>
                  </a:lnTo>
                  <a:lnTo>
                    <a:pt x="2936" y="1981"/>
                  </a:lnTo>
                  <a:lnTo>
                    <a:pt x="2945" y="2003"/>
                  </a:lnTo>
                  <a:lnTo>
                    <a:pt x="2954" y="2025"/>
                  </a:lnTo>
                  <a:lnTo>
                    <a:pt x="2960" y="2047"/>
                  </a:lnTo>
                  <a:lnTo>
                    <a:pt x="2966" y="2069"/>
                  </a:lnTo>
                  <a:lnTo>
                    <a:pt x="2971" y="2092"/>
                  </a:lnTo>
                  <a:lnTo>
                    <a:pt x="2974" y="2116"/>
                  </a:lnTo>
                  <a:lnTo>
                    <a:pt x="2977" y="2139"/>
                  </a:lnTo>
                  <a:lnTo>
                    <a:pt x="2979" y="2163"/>
                  </a:lnTo>
                  <a:lnTo>
                    <a:pt x="2979" y="2185"/>
                  </a:lnTo>
                  <a:lnTo>
                    <a:pt x="2977" y="2209"/>
                  </a:lnTo>
                  <a:lnTo>
                    <a:pt x="2976" y="2232"/>
                  </a:lnTo>
                  <a:lnTo>
                    <a:pt x="2973" y="2256"/>
                  </a:lnTo>
                  <a:lnTo>
                    <a:pt x="2969" y="2279"/>
                  </a:lnTo>
                  <a:lnTo>
                    <a:pt x="2964" y="2301"/>
                  </a:lnTo>
                  <a:lnTo>
                    <a:pt x="2957" y="2324"/>
                  </a:lnTo>
                  <a:lnTo>
                    <a:pt x="2949" y="2347"/>
                  </a:lnTo>
                  <a:lnTo>
                    <a:pt x="2941" y="2369"/>
                  </a:lnTo>
                  <a:lnTo>
                    <a:pt x="2931" y="2391"/>
                  </a:lnTo>
                  <a:lnTo>
                    <a:pt x="2920" y="2412"/>
                  </a:lnTo>
                  <a:lnTo>
                    <a:pt x="2908" y="2433"/>
                  </a:lnTo>
                  <a:lnTo>
                    <a:pt x="2895" y="2454"/>
                  </a:lnTo>
                  <a:lnTo>
                    <a:pt x="2880" y="2473"/>
                  </a:lnTo>
                  <a:lnTo>
                    <a:pt x="2865" y="2493"/>
                  </a:lnTo>
                  <a:lnTo>
                    <a:pt x="2865" y="2493"/>
                  </a:lnTo>
                  <a:lnTo>
                    <a:pt x="2848" y="2512"/>
                  </a:lnTo>
                  <a:lnTo>
                    <a:pt x="2831" y="2529"/>
                  </a:lnTo>
                  <a:lnTo>
                    <a:pt x="2813" y="2546"/>
                  </a:lnTo>
                  <a:lnTo>
                    <a:pt x="2794" y="2561"/>
                  </a:lnTo>
                  <a:lnTo>
                    <a:pt x="2774" y="2576"/>
                  </a:lnTo>
                  <a:lnTo>
                    <a:pt x="2755" y="2589"/>
                  </a:lnTo>
                  <a:lnTo>
                    <a:pt x="2735" y="2602"/>
                  </a:lnTo>
                  <a:lnTo>
                    <a:pt x="2713" y="2613"/>
                  </a:lnTo>
                  <a:lnTo>
                    <a:pt x="2693" y="2623"/>
                  </a:lnTo>
                  <a:lnTo>
                    <a:pt x="2671" y="2632"/>
                  </a:lnTo>
                  <a:lnTo>
                    <a:pt x="2649" y="2640"/>
                  </a:lnTo>
                  <a:lnTo>
                    <a:pt x="2626" y="2646"/>
                  </a:lnTo>
                  <a:lnTo>
                    <a:pt x="2603" y="2653"/>
                  </a:lnTo>
                  <a:lnTo>
                    <a:pt x="2581" y="2658"/>
                  </a:lnTo>
                  <a:lnTo>
                    <a:pt x="2558" y="2661"/>
                  </a:lnTo>
                  <a:lnTo>
                    <a:pt x="2534" y="2663"/>
                  </a:lnTo>
                  <a:lnTo>
                    <a:pt x="2511" y="2665"/>
                  </a:lnTo>
                  <a:lnTo>
                    <a:pt x="2487" y="2665"/>
                  </a:lnTo>
                  <a:lnTo>
                    <a:pt x="2465" y="2664"/>
                  </a:lnTo>
                  <a:lnTo>
                    <a:pt x="2441" y="2663"/>
                  </a:lnTo>
                  <a:lnTo>
                    <a:pt x="2418" y="2660"/>
                  </a:lnTo>
                  <a:lnTo>
                    <a:pt x="2394" y="2656"/>
                  </a:lnTo>
                  <a:lnTo>
                    <a:pt x="2371" y="2651"/>
                  </a:lnTo>
                  <a:lnTo>
                    <a:pt x="2349" y="2643"/>
                  </a:lnTo>
                  <a:lnTo>
                    <a:pt x="2327" y="2636"/>
                  </a:lnTo>
                  <a:lnTo>
                    <a:pt x="2304" y="2628"/>
                  </a:lnTo>
                  <a:lnTo>
                    <a:pt x="2282" y="2617"/>
                  </a:lnTo>
                  <a:lnTo>
                    <a:pt x="2261" y="2607"/>
                  </a:lnTo>
                  <a:lnTo>
                    <a:pt x="2240" y="2595"/>
                  </a:lnTo>
                  <a:lnTo>
                    <a:pt x="2219" y="2581"/>
                  </a:lnTo>
                  <a:lnTo>
                    <a:pt x="2199" y="2567"/>
                  </a:lnTo>
                  <a:lnTo>
                    <a:pt x="2180" y="2551"/>
                  </a:lnTo>
                  <a:lnTo>
                    <a:pt x="172" y="857"/>
                  </a:lnTo>
                  <a:lnTo>
                    <a:pt x="153" y="840"/>
                  </a:lnTo>
                  <a:lnTo>
                    <a:pt x="136" y="823"/>
                  </a:lnTo>
                  <a:lnTo>
                    <a:pt x="119" y="805"/>
                  </a:lnTo>
                  <a:lnTo>
                    <a:pt x="103" y="786"/>
                  </a:lnTo>
                  <a:lnTo>
                    <a:pt x="89" y="768"/>
                  </a:lnTo>
                  <a:lnTo>
                    <a:pt x="75" y="747"/>
                  </a:lnTo>
                  <a:lnTo>
                    <a:pt x="63" y="727"/>
                  </a:lnTo>
                  <a:lnTo>
                    <a:pt x="53" y="706"/>
                  </a:lnTo>
                  <a:lnTo>
                    <a:pt x="42" y="685"/>
                  </a:lnTo>
                  <a:lnTo>
                    <a:pt x="33" y="663"/>
                  </a:lnTo>
                  <a:lnTo>
                    <a:pt x="25" y="641"/>
                  </a:lnTo>
                  <a:lnTo>
                    <a:pt x="18" y="618"/>
                  </a:lnTo>
                  <a:lnTo>
                    <a:pt x="12" y="596"/>
                  </a:lnTo>
                  <a:lnTo>
                    <a:pt x="8" y="573"/>
                  </a:lnTo>
                  <a:lnTo>
                    <a:pt x="4" y="550"/>
                  </a:lnTo>
                  <a:lnTo>
                    <a:pt x="2" y="526"/>
                  </a:lnTo>
                  <a:lnTo>
                    <a:pt x="0" y="503"/>
                  </a:lnTo>
                  <a:lnTo>
                    <a:pt x="0" y="480"/>
                  </a:lnTo>
                  <a:lnTo>
                    <a:pt x="1" y="457"/>
                  </a:lnTo>
                  <a:lnTo>
                    <a:pt x="3" y="433"/>
                  </a:lnTo>
                  <a:lnTo>
                    <a:pt x="5" y="410"/>
                  </a:lnTo>
                  <a:lnTo>
                    <a:pt x="9" y="387"/>
                  </a:lnTo>
                  <a:lnTo>
                    <a:pt x="15" y="364"/>
                  </a:lnTo>
                  <a:lnTo>
                    <a:pt x="22" y="341"/>
                  </a:lnTo>
                  <a:lnTo>
                    <a:pt x="29" y="319"/>
                  </a:lnTo>
                  <a:lnTo>
                    <a:pt x="37" y="296"/>
                  </a:lnTo>
                  <a:lnTo>
                    <a:pt x="47" y="275"/>
                  </a:lnTo>
                  <a:lnTo>
                    <a:pt x="58" y="254"/>
                  </a:lnTo>
                  <a:lnTo>
                    <a:pt x="70" y="232"/>
                  </a:lnTo>
                  <a:lnTo>
                    <a:pt x="84" y="211"/>
                  </a:lnTo>
                  <a:lnTo>
                    <a:pt x="98" y="192"/>
                  </a:lnTo>
                  <a:lnTo>
                    <a:pt x="11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10"/>
            <p:cNvSpPr>
              <a:spLocks/>
            </p:cNvSpPr>
            <p:nvPr/>
          </p:nvSpPr>
          <p:spPr bwMode="auto">
            <a:xfrm>
              <a:off x="2781" y="1326"/>
              <a:ext cx="498" cy="444"/>
            </a:xfrm>
            <a:custGeom>
              <a:avLst/>
              <a:gdLst>
                <a:gd name="T0" fmla="*/ 2885 w 2983"/>
                <a:gd name="T1" fmla="*/ 193 h 2660"/>
                <a:gd name="T2" fmla="*/ 2925 w 2983"/>
                <a:gd name="T3" fmla="*/ 255 h 2660"/>
                <a:gd name="T4" fmla="*/ 2954 w 2983"/>
                <a:gd name="T5" fmla="*/ 320 h 2660"/>
                <a:gd name="T6" fmla="*/ 2973 w 2983"/>
                <a:gd name="T7" fmla="*/ 389 h 2660"/>
                <a:gd name="T8" fmla="*/ 2982 w 2983"/>
                <a:gd name="T9" fmla="*/ 458 h 2660"/>
                <a:gd name="T10" fmla="*/ 2981 w 2983"/>
                <a:gd name="T11" fmla="*/ 529 h 2660"/>
                <a:gd name="T12" fmla="*/ 2970 w 2983"/>
                <a:gd name="T13" fmla="*/ 597 h 2660"/>
                <a:gd name="T14" fmla="*/ 2950 w 2983"/>
                <a:gd name="T15" fmla="*/ 664 h 2660"/>
                <a:gd name="T16" fmla="*/ 2919 w 2983"/>
                <a:gd name="T17" fmla="*/ 729 h 2660"/>
                <a:gd name="T18" fmla="*/ 2878 w 2983"/>
                <a:gd name="T19" fmla="*/ 788 h 2660"/>
                <a:gd name="T20" fmla="*/ 2828 w 2983"/>
                <a:gd name="T21" fmla="*/ 841 h 2660"/>
                <a:gd name="T22" fmla="*/ 778 w 2983"/>
                <a:gd name="T23" fmla="*/ 2563 h 2660"/>
                <a:gd name="T24" fmla="*/ 716 w 2983"/>
                <a:gd name="T25" fmla="*/ 2602 h 2660"/>
                <a:gd name="T26" fmla="*/ 651 w 2983"/>
                <a:gd name="T27" fmla="*/ 2631 h 2660"/>
                <a:gd name="T28" fmla="*/ 582 w 2983"/>
                <a:gd name="T29" fmla="*/ 2651 h 2660"/>
                <a:gd name="T30" fmla="*/ 513 w 2983"/>
                <a:gd name="T31" fmla="*/ 2659 h 2660"/>
                <a:gd name="T32" fmla="*/ 442 w 2983"/>
                <a:gd name="T33" fmla="*/ 2658 h 2660"/>
                <a:gd name="T34" fmla="*/ 374 w 2983"/>
                <a:gd name="T35" fmla="*/ 2648 h 2660"/>
                <a:gd name="T36" fmla="*/ 307 w 2983"/>
                <a:gd name="T37" fmla="*/ 2627 h 2660"/>
                <a:gd name="T38" fmla="*/ 242 w 2983"/>
                <a:gd name="T39" fmla="*/ 2596 h 2660"/>
                <a:gd name="T40" fmla="*/ 183 w 2983"/>
                <a:gd name="T41" fmla="*/ 2556 h 2660"/>
                <a:gd name="T42" fmla="*/ 129 w 2983"/>
                <a:gd name="T43" fmla="*/ 2506 h 2660"/>
                <a:gd name="T44" fmla="*/ 97 w 2983"/>
                <a:gd name="T45" fmla="*/ 2468 h 2660"/>
                <a:gd name="T46" fmla="*/ 58 w 2983"/>
                <a:gd name="T47" fmla="*/ 2406 h 2660"/>
                <a:gd name="T48" fmla="*/ 28 w 2983"/>
                <a:gd name="T49" fmla="*/ 2341 h 2660"/>
                <a:gd name="T50" fmla="*/ 9 w 2983"/>
                <a:gd name="T51" fmla="*/ 2273 h 2660"/>
                <a:gd name="T52" fmla="*/ 0 w 2983"/>
                <a:gd name="T53" fmla="*/ 2203 h 2660"/>
                <a:gd name="T54" fmla="*/ 1 w 2983"/>
                <a:gd name="T55" fmla="*/ 2133 h 2660"/>
                <a:gd name="T56" fmla="*/ 12 w 2983"/>
                <a:gd name="T57" fmla="*/ 2064 h 2660"/>
                <a:gd name="T58" fmla="*/ 33 w 2983"/>
                <a:gd name="T59" fmla="*/ 1996 h 2660"/>
                <a:gd name="T60" fmla="*/ 64 w 2983"/>
                <a:gd name="T61" fmla="*/ 1933 h 2660"/>
                <a:gd name="T62" fmla="*/ 104 w 2983"/>
                <a:gd name="T63" fmla="*/ 1873 h 2660"/>
                <a:gd name="T64" fmla="*/ 153 w 2983"/>
                <a:gd name="T65" fmla="*/ 1819 h 2660"/>
                <a:gd name="T66" fmla="*/ 2205 w 2983"/>
                <a:gd name="T67" fmla="*/ 99 h 2660"/>
                <a:gd name="T68" fmla="*/ 2266 w 2983"/>
                <a:gd name="T69" fmla="*/ 58 h 2660"/>
                <a:gd name="T70" fmla="*/ 2332 w 2983"/>
                <a:gd name="T71" fmla="*/ 29 h 2660"/>
                <a:gd name="T72" fmla="*/ 2399 w 2983"/>
                <a:gd name="T73" fmla="*/ 11 h 2660"/>
                <a:gd name="T74" fmla="*/ 2470 w 2983"/>
                <a:gd name="T75" fmla="*/ 1 h 2660"/>
                <a:gd name="T76" fmla="*/ 2539 w 2983"/>
                <a:gd name="T77" fmla="*/ 2 h 2660"/>
                <a:gd name="T78" fmla="*/ 2609 w 2983"/>
                <a:gd name="T79" fmla="*/ 14 h 2660"/>
                <a:gd name="T80" fmla="*/ 2676 w 2983"/>
                <a:gd name="T81" fmla="*/ 35 h 2660"/>
                <a:gd name="T82" fmla="*/ 2740 w 2983"/>
                <a:gd name="T83" fmla="*/ 66 h 2660"/>
                <a:gd name="T84" fmla="*/ 2799 w 2983"/>
                <a:gd name="T85" fmla="*/ 105 h 2660"/>
                <a:gd name="T86" fmla="*/ 2853 w 2983"/>
                <a:gd name="T87" fmla="*/ 155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83" h="2660">
                  <a:moveTo>
                    <a:pt x="2870" y="173"/>
                  </a:moveTo>
                  <a:lnTo>
                    <a:pt x="2870" y="173"/>
                  </a:lnTo>
                  <a:lnTo>
                    <a:pt x="2885" y="193"/>
                  </a:lnTo>
                  <a:lnTo>
                    <a:pt x="2900" y="214"/>
                  </a:lnTo>
                  <a:lnTo>
                    <a:pt x="2913" y="233"/>
                  </a:lnTo>
                  <a:lnTo>
                    <a:pt x="2925" y="255"/>
                  </a:lnTo>
                  <a:lnTo>
                    <a:pt x="2936" y="276"/>
                  </a:lnTo>
                  <a:lnTo>
                    <a:pt x="2945" y="299"/>
                  </a:lnTo>
                  <a:lnTo>
                    <a:pt x="2954" y="320"/>
                  </a:lnTo>
                  <a:lnTo>
                    <a:pt x="2962" y="343"/>
                  </a:lnTo>
                  <a:lnTo>
                    <a:pt x="2968" y="366"/>
                  </a:lnTo>
                  <a:lnTo>
                    <a:pt x="2973" y="389"/>
                  </a:lnTo>
                  <a:lnTo>
                    <a:pt x="2978" y="412"/>
                  </a:lnTo>
                  <a:lnTo>
                    <a:pt x="2981" y="435"/>
                  </a:lnTo>
                  <a:lnTo>
                    <a:pt x="2982" y="458"/>
                  </a:lnTo>
                  <a:lnTo>
                    <a:pt x="2983" y="482"/>
                  </a:lnTo>
                  <a:lnTo>
                    <a:pt x="2983" y="505"/>
                  </a:lnTo>
                  <a:lnTo>
                    <a:pt x="2981" y="529"/>
                  </a:lnTo>
                  <a:lnTo>
                    <a:pt x="2979" y="551"/>
                  </a:lnTo>
                  <a:lnTo>
                    <a:pt x="2975" y="574"/>
                  </a:lnTo>
                  <a:lnTo>
                    <a:pt x="2970" y="597"/>
                  </a:lnTo>
                  <a:lnTo>
                    <a:pt x="2964" y="620"/>
                  </a:lnTo>
                  <a:lnTo>
                    <a:pt x="2957" y="643"/>
                  </a:lnTo>
                  <a:lnTo>
                    <a:pt x="2950" y="664"/>
                  </a:lnTo>
                  <a:lnTo>
                    <a:pt x="2940" y="686"/>
                  </a:lnTo>
                  <a:lnTo>
                    <a:pt x="2930" y="708"/>
                  </a:lnTo>
                  <a:lnTo>
                    <a:pt x="2919" y="729"/>
                  </a:lnTo>
                  <a:lnTo>
                    <a:pt x="2906" y="749"/>
                  </a:lnTo>
                  <a:lnTo>
                    <a:pt x="2893" y="769"/>
                  </a:lnTo>
                  <a:lnTo>
                    <a:pt x="2878" y="788"/>
                  </a:lnTo>
                  <a:lnTo>
                    <a:pt x="2863" y="806"/>
                  </a:lnTo>
                  <a:lnTo>
                    <a:pt x="2846" y="825"/>
                  </a:lnTo>
                  <a:lnTo>
                    <a:pt x="2828" y="841"/>
                  </a:lnTo>
                  <a:lnTo>
                    <a:pt x="2810" y="858"/>
                  </a:lnTo>
                  <a:lnTo>
                    <a:pt x="798" y="2547"/>
                  </a:lnTo>
                  <a:lnTo>
                    <a:pt x="778" y="2563"/>
                  </a:lnTo>
                  <a:lnTo>
                    <a:pt x="757" y="2577"/>
                  </a:lnTo>
                  <a:lnTo>
                    <a:pt x="738" y="2591"/>
                  </a:lnTo>
                  <a:lnTo>
                    <a:pt x="716" y="2602"/>
                  </a:lnTo>
                  <a:lnTo>
                    <a:pt x="695" y="2614"/>
                  </a:lnTo>
                  <a:lnTo>
                    <a:pt x="672" y="2623"/>
                  </a:lnTo>
                  <a:lnTo>
                    <a:pt x="651" y="2631"/>
                  </a:lnTo>
                  <a:lnTo>
                    <a:pt x="628" y="2639"/>
                  </a:lnTo>
                  <a:lnTo>
                    <a:pt x="605" y="2646"/>
                  </a:lnTo>
                  <a:lnTo>
                    <a:pt x="582" y="2651"/>
                  </a:lnTo>
                  <a:lnTo>
                    <a:pt x="559" y="2655"/>
                  </a:lnTo>
                  <a:lnTo>
                    <a:pt x="536" y="2658"/>
                  </a:lnTo>
                  <a:lnTo>
                    <a:pt x="513" y="2659"/>
                  </a:lnTo>
                  <a:lnTo>
                    <a:pt x="489" y="2660"/>
                  </a:lnTo>
                  <a:lnTo>
                    <a:pt x="466" y="2660"/>
                  </a:lnTo>
                  <a:lnTo>
                    <a:pt x="442" y="2658"/>
                  </a:lnTo>
                  <a:lnTo>
                    <a:pt x="420" y="2656"/>
                  </a:lnTo>
                  <a:lnTo>
                    <a:pt x="397" y="2652"/>
                  </a:lnTo>
                  <a:lnTo>
                    <a:pt x="374" y="2648"/>
                  </a:lnTo>
                  <a:lnTo>
                    <a:pt x="351" y="2642"/>
                  </a:lnTo>
                  <a:lnTo>
                    <a:pt x="328" y="2634"/>
                  </a:lnTo>
                  <a:lnTo>
                    <a:pt x="307" y="2627"/>
                  </a:lnTo>
                  <a:lnTo>
                    <a:pt x="285" y="2618"/>
                  </a:lnTo>
                  <a:lnTo>
                    <a:pt x="263" y="2607"/>
                  </a:lnTo>
                  <a:lnTo>
                    <a:pt x="242" y="2596"/>
                  </a:lnTo>
                  <a:lnTo>
                    <a:pt x="222" y="2584"/>
                  </a:lnTo>
                  <a:lnTo>
                    <a:pt x="202" y="2570"/>
                  </a:lnTo>
                  <a:lnTo>
                    <a:pt x="183" y="2556"/>
                  </a:lnTo>
                  <a:lnTo>
                    <a:pt x="165" y="2540"/>
                  </a:lnTo>
                  <a:lnTo>
                    <a:pt x="146" y="2523"/>
                  </a:lnTo>
                  <a:lnTo>
                    <a:pt x="129" y="2506"/>
                  </a:lnTo>
                  <a:lnTo>
                    <a:pt x="113" y="2487"/>
                  </a:lnTo>
                  <a:lnTo>
                    <a:pt x="113" y="2487"/>
                  </a:lnTo>
                  <a:lnTo>
                    <a:pt x="97" y="2468"/>
                  </a:lnTo>
                  <a:lnTo>
                    <a:pt x="83" y="2448"/>
                  </a:lnTo>
                  <a:lnTo>
                    <a:pt x="69" y="2427"/>
                  </a:lnTo>
                  <a:lnTo>
                    <a:pt x="58" y="2406"/>
                  </a:lnTo>
                  <a:lnTo>
                    <a:pt x="47" y="2385"/>
                  </a:lnTo>
                  <a:lnTo>
                    <a:pt x="37" y="2363"/>
                  </a:lnTo>
                  <a:lnTo>
                    <a:pt x="28" y="2341"/>
                  </a:lnTo>
                  <a:lnTo>
                    <a:pt x="21" y="2318"/>
                  </a:lnTo>
                  <a:lnTo>
                    <a:pt x="14" y="2296"/>
                  </a:lnTo>
                  <a:lnTo>
                    <a:pt x="9" y="2273"/>
                  </a:lnTo>
                  <a:lnTo>
                    <a:pt x="5" y="2249"/>
                  </a:lnTo>
                  <a:lnTo>
                    <a:pt x="2" y="2226"/>
                  </a:lnTo>
                  <a:lnTo>
                    <a:pt x="0" y="2203"/>
                  </a:lnTo>
                  <a:lnTo>
                    <a:pt x="0" y="2180"/>
                  </a:lnTo>
                  <a:lnTo>
                    <a:pt x="0" y="2156"/>
                  </a:lnTo>
                  <a:lnTo>
                    <a:pt x="1" y="2133"/>
                  </a:lnTo>
                  <a:lnTo>
                    <a:pt x="4" y="2110"/>
                  </a:lnTo>
                  <a:lnTo>
                    <a:pt x="7" y="2086"/>
                  </a:lnTo>
                  <a:lnTo>
                    <a:pt x="12" y="2064"/>
                  </a:lnTo>
                  <a:lnTo>
                    <a:pt x="19" y="2041"/>
                  </a:lnTo>
                  <a:lnTo>
                    <a:pt x="25" y="2019"/>
                  </a:lnTo>
                  <a:lnTo>
                    <a:pt x="33" y="1996"/>
                  </a:lnTo>
                  <a:lnTo>
                    <a:pt x="42" y="1975"/>
                  </a:lnTo>
                  <a:lnTo>
                    <a:pt x="53" y="1954"/>
                  </a:lnTo>
                  <a:lnTo>
                    <a:pt x="64" y="1933"/>
                  </a:lnTo>
                  <a:lnTo>
                    <a:pt x="77" y="1912"/>
                  </a:lnTo>
                  <a:lnTo>
                    <a:pt x="89" y="1893"/>
                  </a:lnTo>
                  <a:lnTo>
                    <a:pt x="104" y="1873"/>
                  </a:lnTo>
                  <a:lnTo>
                    <a:pt x="119" y="1854"/>
                  </a:lnTo>
                  <a:lnTo>
                    <a:pt x="136" y="1837"/>
                  </a:lnTo>
                  <a:lnTo>
                    <a:pt x="153" y="1819"/>
                  </a:lnTo>
                  <a:lnTo>
                    <a:pt x="172" y="1803"/>
                  </a:lnTo>
                  <a:lnTo>
                    <a:pt x="2185" y="114"/>
                  </a:lnTo>
                  <a:lnTo>
                    <a:pt x="2205" y="99"/>
                  </a:lnTo>
                  <a:lnTo>
                    <a:pt x="2224" y="84"/>
                  </a:lnTo>
                  <a:lnTo>
                    <a:pt x="2245" y="71"/>
                  </a:lnTo>
                  <a:lnTo>
                    <a:pt x="2266" y="58"/>
                  </a:lnTo>
                  <a:lnTo>
                    <a:pt x="2288" y="48"/>
                  </a:lnTo>
                  <a:lnTo>
                    <a:pt x="2309" y="38"/>
                  </a:lnTo>
                  <a:lnTo>
                    <a:pt x="2332" y="29"/>
                  </a:lnTo>
                  <a:lnTo>
                    <a:pt x="2354" y="22"/>
                  </a:lnTo>
                  <a:lnTo>
                    <a:pt x="2377" y="16"/>
                  </a:lnTo>
                  <a:lnTo>
                    <a:pt x="2399" y="11"/>
                  </a:lnTo>
                  <a:lnTo>
                    <a:pt x="2423" y="7"/>
                  </a:lnTo>
                  <a:lnTo>
                    <a:pt x="2446" y="4"/>
                  </a:lnTo>
                  <a:lnTo>
                    <a:pt x="2470" y="1"/>
                  </a:lnTo>
                  <a:lnTo>
                    <a:pt x="2493" y="0"/>
                  </a:lnTo>
                  <a:lnTo>
                    <a:pt x="2517" y="1"/>
                  </a:lnTo>
                  <a:lnTo>
                    <a:pt x="2539" y="2"/>
                  </a:lnTo>
                  <a:lnTo>
                    <a:pt x="2563" y="6"/>
                  </a:lnTo>
                  <a:lnTo>
                    <a:pt x="2586" y="9"/>
                  </a:lnTo>
                  <a:lnTo>
                    <a:pt x="2609" y="14"/>
                  </a:lnTo>
                  <a:lnTo>
                    <a:pt x="2632" y="20"/>
                  </a:lnTo>
                  <a:lnTo>
                    <a:pt x="2654" y="26"/>
                  </a:lnTo>
                  <a:lnTo>
                    <a:pt x="2676" y="35"/>
                  </a:lnTo>
                  <a:lnTo>
                    <a:pt x="2698" y="44"/>
                  </a:lnTo>
                  <a:lnTo>
                    <a:pt x="2719" y="54"/>
                  </a:lnTo>
                  <a:lnTo>
                    <a:pt x="2740" y="66"/>
                  </a:lnTo>
                  <a:lnTo>
                    <a:pt x="2760" y="77"/>
                  </a:lnTo>
                  <a:lnTo>
                    <a:pt x="2780" y="91"/>
                  </a:lnTo>
                  <a:lnTo>
                    <a:pt x="2799" y="105"/>
                  </a:lnTo>
                  <a:lnTo>
                    <a:pt x="2818" y="121"/>
                  </a:lnTo>
                  <a:lnTo>
                    <a:pt x="2836" y="137"/>
                  </a:lnTo>
                  <a:lnTo>
                    <a:pt x="2853" y="155"/>
                  </a:lnTo>
                  <a:lnTo>
                    <a:pt x="2870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1"/>
            <p:cNvSpPr>
              <a:spLocks/>
            </p:cNvSpPr>
            <p:nvPr/>
          </p:nvSpPr>
          <p:spPr bwMode="auto">
            <a:xfrm>
              <a:off x="2306" y="1270"/>
              <a:ext cx="336" cy="1001"/>
            </a:xfrm>
            <a:custGeom>
              <a:avLst/>
              <a:gdLst>
                <a:gd name="T0" fmla="*/ 1059 w 2016"/>
                <a:gd name="T1" fmla="*/ 1 h 6009"/>
                <a:gd name="T2" fmla="*/ 1211 w 2016"/>
                <a:gd name="T3" fmla="*/ 20 h 6009"/>
                <a:gd name="T4" fmla="*/ 1354 w 2016"/>
                <a:gd name="T5" fmla="*/ 61 h 6009"/>
                <a:gd name="T6" fmla="*/ 1487 w 2016"/>
                <a:gd name="T7" fmla="*/ 122 h 6009"/>
                <a:gd name="T8" fmla="*/ 1610 w 2016"/>
                <a:gd name="T9" fmla="*/ 201 h 6009"/>
                <a:gd name="T10" fmla="*/ 1719 w 2016"/>
                <a:gd name="T11" fmla="*/ 296 h 6009"/>
                <a:gd name="T12" fmla="*/ 1815 w 2016"/>
                <a:gd name="T13" fmla="*/ 406 h 6009"/>
                <a:gd name="T14" fmla="*/ 1893 w 2016"/>
                <a:gd name="T15" fmla="*/ 528 h 6009"/>
                <a:gd name="T16" fmla="*/ 1955 w 2016"/>
                <a:gd name="T17" fmla="*/ 662 h 6009"/>
                <a:gd name="T18" fmla="*/ 1995 w 2016"/>
                <a:gd name="T19" fmla="*/ 804 h 6009"/>
                <a:gd name="T20" fmla="*/ 2015 w 2016"/>
                <a:gd name="T21" fmla="*/ 956 h 6009"/>
                <a:gd name="T22" fmla="*/ 2015 w 2016"/>
                <a:gd name="T23" fmla="*/ 5053 h 6009"/>
                <a:gd name="T24" fmla="*/ 1995 w 2016"/>
                <a:gd name="T25" fmla="*/ 5204 h 6009"/>
                <a:gd name="T26" fmla="*/ 1955 w 2016"/>
                <a:gd name="T27" fmla="*/ 5347 h 6009"/>
                <a:gd name="T28" fmla="*/ 1893 w 2016"/>
                <a:gd name="T29" fmla="*/ 5481 h 6009"/>
                <a:gd name="T30" fmla="*/ 1815 w 2016"/>
                <a:gd name="T31" fmla="*/ 5604 h 6009"/>
                <a:gd name="T32" fmla="*/ 1719 w 2016"/>
                <a:gd name="T33" fmla="*/ 5714 h 6009"/>
                <a:gd name="T34" fmla="*/ 1610 w 2016"/>
                <a:gd name="T35" fmla="*/ 5808 h 6009"/>
                <a:gd name="T36" fmla="*/ 1487 w 2016"/>
                <a:gd name="T37" fmla="*/ 5888 h 6009"/>
                <a:gd name="T38" fmla="*/ 1354 w 2016"/>
                <a:gd name="T39" fmla="*/ 5948 h 6009"/>
                <a:gd name="T40" fmla="*/ 1211 w 2016"/>
                <a:gd name="T41" fmla="*/ 5989 h 6009"/>
                <a:gd name="T42" fmla="*/ 1059 w 2016"/>
                <a:gd name="T43" fmla="*/ 6008 h 6009"/>
                <a:gd name="T44" fmla="*/ 956 w 2016"/>
                <a:gd name="T45" fmla="*/ 6008 h 6009"/>
                <a:gd name="T46" fmla="*/ 806 w 2016"/>
                <a:gd name="T47" fmla="*/ 5989 h 6009"/>
                <a:gd name="T48" fmla="*/ 663 w 2016"/>
                <a:gd name="T49" fmla="*/ 5948 h 6009"/>
                <a:gd name="T50" fmla="*/ 529 w 2016"/>
                <a:gd name="T51" fmla="*/ 5888 h 6009"/>
                <a:gd name="T52" fmla="*/ 406 w 2016"/>
                <a:gd name="T53" fmla="*/ 5808 h 6009"/>
                <a:gd name="T54" fmla="*/ 296 w 2016"/>
                <a:gd name="T55" fmla="*/ 5714 h 6009"/>
                <a:gd name="T56" fmla="*/ 201 w 2016"/>
                <a:gd name="T57" fmla="*/ 5604 h 6009"/>
                <a:gd name="T58" fmla="*/ 122 w 2016"/>
                <a:gd name="T59" fmla="*/ 5481 h 6009"/>
                <a:gd name="T60" fmla="*/ 62 w 2016"/>
                <a:gd name="T61" fmla="*/ 5347 h 6009"/>
                <a:gd name="T62" fmla="*/ 20 w 2016"/>
                <a:gd name="T63" fmla="*/ 5204 h 6009"/>
                <a:gd name="T64" fmla="*/ 2 w 2016"/>
                <a:gd name="T65" fmla="*/ 5053 h 6009"/>
                <a:gd name="T66" fmla="*/ 2 w 2016"/>
                <a:gd name="T67" fmla="*/ 956 h 6009"/>
                <a:gd name="T68" fmla="*/ 20 w 2016"/>
                <a:gd name="T69" fmla="*/ 804 h 6009"/>
                <a:gd name="T70" fmla="*/ 62 w 2016"/>
                <a:gd name="T71" fmla="*/ 662 h 6009"/>
                <a:gd name="T72" fmla="*/ 122 w 2016"/>
                <a:gd name="T73" fmla="*/ 528 h 6009"/>
                <a:gd name="T74" fmla="*/ 201 w 2016"/>
                <a:gd name="T75" fmla="*/ 406 h 6009"/>
                <a:gd name="T76" fmla="*/ 296 w 2016"/>
                <a:gd name="T77" fmla="*/ 296 h 6009"/>
                <a:gd name="T78" fmla="*/ 406 w 2016"/>
                <a:gd name="T79" fmla="*/ 201 h 6009"/>
                <a:gd name="T80" fmla="*/ 529 w 2016"/>
                <a:gd name="T81" fmla="*/ 122 h 6009"/>
                <a:gd name="T82" fmla="*/ 663 w 2016"/>
                <a:gd name="T83" fmla="*/ 61 h 6009"/>
                <a:gd name="T84" fmla="*/ 806 w 2016"/>
                <a:gd name="T85" fmla="*/ 20 h 6009"/>
                <a:gd name="T86" fmla="*/ 956 w 2016"/>
                <a:gd name="T87" fmla="*/ 1 h 6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16" h="6009">
                  <a:moveTo>
                    <a:pt x="1008" y="0"/>
                  </a:moveTo>
                  <a:lnTo>
                    <a:pt x="1008" y="0"/>
                  </a:lnTo>
                  <a:lnTo>
                    <a:pt x="1059" y="1"/>
                  </a:lnTo>
                  <a:lnTo>
                    <a:pt x="1110" y="5"/>
                  </a:lnTo>
                  <a:lnTo>
                    <a:pt x="1161" y="11"/>
                  </a:lnTo>
                  <a:lnTo>
                    <a:pt x="1211" y="20"/>
                  </a:lnTo>
                  <a:lnTo>
                    <a:pt x="1259" y="32"/>
                  </a:lnTo>
                  <a:lnTo>
                    <a:pt x="1307" y="45"/>
                  </a:lnTo>
                  <a:lnTo>
                    <a:pt x="1354" y="61"/>
                  </a:lnTo>
                  <a:lnTo>
                    <a:pt x="1399" y="79"/>
                  </a:lnTo>
                  <a:lnTo>
                    <a:pt x="1444" y="99"/>
                  </a:lnTo>
                  <a:lnTo>
                    <a:pt x="1487" y="122"/>
                  </a:lnTo>
                  <a:lnTo>
                    <a:pt x="1530" y="146"/>
                  </a:lnTo>
                  <a:lnTo>
                    <a:pt x="1570" y="173"/>
                  </a:lnTo>
                  <a:lnTo>
                    <a:pt x="1610" y="201"/>
                  </a:lnTo>
                  <a:lnTo>
                    <a:pt x="1648" y="231"/>
                  </a:lnTo>
                  <a:lnTo>
                    <a:pt x="1685" y="262"/>
                  </a:lnTo>
                  <a:lnTo>
                    <a:pt x="1719" y="296"/>
                  </a:lnTo>
                  <a:lnTo>
                    <a:pt x="1754" y="331"/>
                  </a:lnTo>
                  <a:lnTo>
                    <a:pt x="1785" y="367"/>
                  </a:lnTo>
                  <a:lnTo>
                    <a:pt x="1815" y="406"/>
                  </a:lnTo>
                  <a:lnTo>
                    <a:pt x="1843" y="445"/>
                  </a:lnTo>
                  <a:lnTo>
                    <a:pt x="1870" y="485"/>
                  </a:lnTo>
                  <a:lnTo>
                    <a:pt x="1893" y="528"/>
                  </a:lnTo>
                  <a:lnTo>
                    <a:pt x="1916" y="571"/>
                  </a:lnTo>
                  <a:lnTo>
                    <a:pt x="1936" y="616"/>
                  </a:lnTo>
                  <a:lnTo>
                    <a:pt x="1955" y="662"/>
                  </a:lnTo>
                  <a:lnTo>
                    <a:pt x="1970" y="708"/>
                  </a:lnTo>
                  <a:lnTo>
                    <a:pt x="1984" y="756"/>
                  </a:lnTo>
                  <a:lnTo>
                    <a:pt x="1995" y="804"/>
                  </a:lnTo>
                  <a:lnTo>
                    <a:pt x="2004" y="854"/>
                  </a:lnTo>
                  <a:lnTo>
                    <a:pt x="2011" y="905"/>
                  </a:lnTo>
                  <a:lnTo>
                    <a:pt x="2015" y="956"/>
                  </a:lnTo>
                  <a:lnTo>
                    <a:pt x="2016" y="1007"/>
                  </a:lnTo>
                  <a:lnTo>
                    <a:pt x="2016" y="5002"/>
                  </a:lnTo>
                  <a:lnTo>
                    <a:pt x="2015" y="5053"/>
                  </a:lnTo>
                  <a:lnTo>
                    <a:pt x="2011" y="5105"/>
                  </a:lnTo>
                  <a:lnTo>
                    <a:pt x="2004" y="5155"/>
                  </a:lnTo>
                  <a:lnTo>
                    <a:pt x="1995" y="5204"/>
                  </a:lnTo>
                  <a:lnTo>
                    <a:pt x="1984" y="5253"/>
                  </a:lnTo>
                  <a:lnTo>
                    <a:pt x="1970" y="5301"/>
                  </a:lnTo>
                  <a:lnTo>
                    <a:pt x="1955" y="5347"/>
                  </a:lnTo>
                  <a:lnTo>
                    <a:pt x="1936" y="5393"/>
                  </a:lnTo>
                  <a:lnTo>
                    <a:pt x="1916" y="5437"/>
                  </a:lnTo>
                  <a:lnTo>
                    <a:pt x="1893" y="5481"/>
                  </a:lnTo>
                  <a:lnTo>
                    <a:pt x="1870" y="5523"/>
                  </a:lnTo>
                  <a:lnTo>
                    <a:pt x="1843" y="5564"/>
                  </a:lnTo>
                  <a:lnTo>
                    <a:pt x="1815" y="5604"/>
                  </a:lnTo>
                  <a:lnTo>
                    <a:pt x="1785" y="5641"/>
                  </a:lnTo>
                  <a:lnTo>
                    <a:pt x="1754" y="5679"/>
                  </a:lnTo>
                  <a:lnTo>
                    <a:pt x="1719" y="5714"/>
                  </a:lnTo>
                  <a:lnTo>
                    <a:pt x="1685" y="5747"/>
                  </a:lnTo>
                  <a:lnTo>
                    <a:pt x="1648" y="5779"/>
                  </a:lnTo>
                  <a:lnTo>
                    <a:pt x="1610" y="5808"/>
                  </a:lnTo>
                  <a:lnTo>
                    <a:pt x="1570" y="5837"/>
                  </a:lnTo>
                  <a:lnTo>
                    <a:pt x="1530" y="5863"/>
                  </a:lnTo>
                  <a:lnTo>
                    <a:pt x="1487" y="5888"/>
                  </a:lnTo>
                  <a:lnTo>
                    <a:pt x="1444" y="5910"/>
                  </a:lnTo>
                  <a:lnTo>
                    <a:pt x="1399" y="5930"/>
                  </a:lnTo>
                  <a:lnTo>
                    <a:pt x="1354" y="5948"/>
                  </a:lnTo>
                  <a:lnTo>
                    <a:pt x="1307" y="5964"/>
                  </a:lnTo>
                  <a:lnTo>
                    <a:pt x="1259" y="5978"/>
                  </a:lnTo>
                  <a:lnTo>
                    <a:pt x="1211" y="5989"/>
                  </a:lnTo>
                  <a:lnTo>
                    <a:pt x="1161" y="5998"/>
                  </a:lnTo>
                  <a:lnTo>
                    <a:pt x="1110" y="6004"/>
                  </a:lnTo>
                  <a:lnTo>
                    <a:pt x="1059" y="6008"/>
                  </a:lnTo>
                  <a:lnTo>
                    <a:pt x="1008" y="6009"/>
                  </a:lnTo>
                  <a:lnTo>
                    <a:pt x="1008" y="6009"/>
                  </a:lnTo>
                  <a:lnTo>
                    <a:pt x="956" y="6008"/>
                  </a:lnTo>
                  <a:lnTo>
                    <a:pt x="905" y="6004"/>
                  </a:lnTo>
                  <a:lnTo>
                    <a:pt x="855" y="5998"/>
                  </a:lnTo>
                  <a:lnTo>
                    <a:pt x="806" y="5989"/>
                  </a:lnTo>
                  <a:lnTo>
                    <a:pt x="757" y="5978"/>
                  </a:lnTo>
                  <a:lnTo>
                    <a:pt x="709" y="5964"/>
                  </a:lnTo>
                  <a:lnTo>
                    <a:pt x="663" y="5948"/>
                  </a:lnTo>
                  <a:lnTo>
                    <a:pt x="617" y="5930"/>
                  </a:lnTo>
                  <a:lnTo>
                    <a:pt x="571" y="5910"/>
                  </a:lnTo>
                  <a:lnTo>
                    <a:pt x="529" y="5888"/>
                  </a:lnTo>
                  <a:lnTo>
                    <a:pt x="486" y="5863"/>
                  </a:lnTo>
                  <a:lnTo>
                    <a:pt x="445" y="5837"/>
                  </a:lnTo>
                  <a:lnTo>
                    <a:pt x="406" y="5808"/>
                  </a:lnTo>
                  <a:lnTo>
                    <a:pt x="367" y="5779"/>
                  </a:lnTo>
                  <a:lnTo>
                    <a:pt x="331" y="5747"/>
                  </a:lnTo>
                  <a:lnTo>
                    <a:pt x="296" y="5714"/>
                  </a:lnTo>
                  <a:lnTo>
                    <a:pt x="263" y="5679"/>
                  </a:lnTo>
                  <a:lnTo>
                    <a:pt x="231" y="5641"/>
                  </a:lnTo>
                  <a:lnTo>
                    <a:pt x="201" y="5604"/>
                  </a:lnTo>
                  <a:lnTo>
                    <a:pt x="173" y="5564"/>
                  </a:lnTo>
                  <a:lnTo>
                    <a:pt x="147" y="5523"/>
                  </a:lnTo>
                  <a:lnTo>
                    <a:pt x="122" y="5481"/>
                  </a:lnTo>
                  <a:lnTo>
                    <a:pt x="100" y="5437"/>
                  </a:lnTo>
                  <a:lnTo>
                    <a:pt x="79" y="5393"/>
                  </a:lnTo>
                  <a:lnTo>
                    <a:pt x="62" y="5347"/>
                  </a:lnTo>
                  <a:lnTo>
                    <a:pt x="45" y="5301"/>
                  </a:lnTo>
                  <a:lnTo>
                    <a:pt x="32" y="5253"/>
                  </a:lnTo>
                  <a:lnTo>
                    <a:pt x="20" y="5204"/>
                  </a:lnTo>
                  <a:lnTo>
                    <a:pt x="12" y="5155"/>
                  </a:lnTo>
                  <a:lnTo>
                    <a:pt x="5" y="5105"/>
                  </a:lnTo>
                  <a:lnTo>
                    <a:pt x="2" y="5053"/>
                  </a:lnTo>
                  <a:lnTo>
                    <a:pt x="0" y="5002"/>
                  </a:lnTo>
                  <a:lnTo>
                    <a:pt x="0" y="1007"/>
                  </a:lnTo>
                  <a:lnTo>
                    <a:pt x="2" y="956"/>
                  </a:lnTo>
                  <a:lnTo>
                    <a:pt x="5" y="905"/>
                  </a:lnTo>
                  <a:lnTo>
                    <a:pt x="12" y="854"/>
                  </a:lnTo>
                  <a:lnTo>
                    <a:pt x="20" y="804"/>
                  </a:lnTo>
                  <a:lnTo>
                    <a:pt x="32" y="756"/>
                  </a:lnTo>
                  <a:lnTo>
                    <a:pt x="45" y="708"/>
                  </a:lnTo>
                  <a:lnTo>
                    <a:pt x="62" y="662"/>
                  </a:lnTo>
                  <a:lnTo>
                    <a:pt x="79" y="616"/>
                  </a:lnTo>
                  <a:lnTo>
                    <a:pt x="100" y="571"/>
                  </a:lnTo>
                  <a:lnTo>
                    <a:pt x="122" y="528"/>
                  </a:lnTo>
                  <a:lnTo>
                    <a:pt x="147" y="485"/>
                  </a:lnTo>
                  <a:lnTo>
                    <a:pt x="173" y="445"/>
                  </a:lnTo>
                  <a:lnTo>
                    <a:pt x="201" y="406"/>
                  </a:lnTo>
                  <a:lnTo>
                    <a:pt x="231" y="367"/>
                  </a:lnTo>
                  <a:lnTo>
                    <a:pt x="263" y="331"/>
                  </a:lnTo>
                  <a:lnTo>
                    <a:pt x="296" y="296"/>
                  </a:lnTo>
                  <a:lnTo>
                    <a:pt x="331" y="262"/>
                  </a:lnTo>
                  <a:lnTo>
                    <a:pt x="367" y="231"/>
                  </a:lnTo>
                  <a:lnTo>
                    <a:pt x="406" y="201"/>
                  </a:lnTo>
                  <a:lnTo>
                    <a:pt x="445" y="173"/>
                  </a:lnTo>
                  <a:lnTo>
                    <a:pt x="486" y="146"/>
                  </a:lnTo>
                  <a:lnTo>
                    <a:pt x="529" y="122"/>
                  </a:lnTo>
                  <a:lnTo>
                    <a:pt x="571" y="99"/>
                  </a:lnTo>
                  <a:lnTo>
                    <a:pt x="617" y="79"/>
                  </a:lnTo>
                  <a:lnTo>
                    <a:pt x="663" y="61"/>
                  </a:lnTo>
                  <a:lnTo>
                    <a:pt x="709" y="45"/>
                  </a:lnTo>
                  <a:lnTo>
                    <a:pt x="757" y="32"/>
                  </a:lnTo>
                  <a:lnTo>
                    <a:pt x="806" y="20"/>
                  </a:lnTo>
                  <a:lnTo>
                    <a:pt x="855" y="11"/>
                  </a:lnTo>
                  <a:lnTo>
                    <a:pt x="905" y="5"/>
                  </a:lnTo>
                  <a:lnTo>
                    <a:pt x="956" y="1"/>
                  </a:lnTo>
                  <a:lnTo>
                    <a:pt x="1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2136" y="2087"/>
              <a:ext cx="446" cy="867"/>
            </a:xfrm>
            <a:custGeom>
              <a:avLst/>
              <a:gdLst>
                <a:gd name="T0" fmla="*/ 2246 w 2673"/>
                <a:gd name="T1" fmla="*/ 48 h 5204"/>
                <a:gd name="T2" fmla="*/ 2338 w 2673"/>
                <a:gd name="T3" fmla="*/ 93 h 5204"/>
                <a:gd name="T4" fmla="*/ 2420 w 2673"/>
                <a:gd name="T5" fmla="*/ 150 h 5204"/>
                <a:gd name="T6" fmla="*/ 2493 w 2673"/>
                <a:gd name="T7" fmla="*/ 217 h 5204"/>
                <a:gd name="T8" fmla="*/ 2554 w 2673"/>
                <a:gd name="T9" fmla="*/ 295 h 5204"/>
                <a:gd name="T10" fmla="*/ 2604 w 2673"/>
                <a:gd name="T11" fmla="*/ 379 h 5204"/>
                <a:gd name="T12" fmla="*/ 2640 w 2673"/>
                <a:gd name="T13" fmla="*/ 470 h 5204"/>
                <a:gd name="T14" fmla="*/ 2664 w 2673"/>
                <a:gd name="T15" fmla="*/ 565 h 5204"/>
                <a:gd name="T16" fmla="*/ 2673 w 2673"/>
                <a:gd name="T17" fmla="*/ 664 h 5204"/>
                <a:gd name="T18" fmla="*/ 2668 w 2673"/>
                <a:gd name="T19" fmla="*/ 764 h 5204"/>
                <a:gd name="T20" fmla="*/ 2647 w 2673"/>
                <a:gd name="T21" fmla="*/ 865 h 5204"/>
                <a:gd name="T22" fmla="*/ 1311 w 2673"/>
                <a:gd name="T23" fmla="*/ 4777 h 5204"/>
                <a:gd name="T24" fmla="*/ 1266 w 2673"/>
                <a:gd name="T25" fmla="*/ 4869 h 5204"/>
                <a:gd name="T26" fmla="*/ 1209 w 2673"/>
                <a:gd name="T27" fmla="*/ 4951 h 5204"/>
                <a:gd name="T28" fmla="*/ 1141 w 2673"/>
                <a:gd name="T29" fmla="*/ 5023 h 5204"/>
                <a:gd name="T30" fmla="*/ 1064 w 2673"/>
                <a:gd name="T31" fmla="*/ 5084 h 5204"/>
                <a:gd name="T32" fmla="*/ 979 w 2673"/>
                <a:gd name="T33" fmla="*/ 5133 h 5204"/>
                <a:gd name="T34" fmla="*/ 888 w 2673"/>
                <a:gd name="T35" fmla="*/ 5170 h 5204"/>
                <a:gd name="T36" fmla="*/ 793 w 2673"/>
                <a:gd name="T37" fmla="*/ 5194 h 5204"/>
                <a:gd name="T38" fmla="*/ 694 w 2673"/>
                <a:gd name="T39" fmla="*/ 5204 h 5204"/>
                <a:gd name="T40" fmla="*/ 594 w 2673"/>
                <a:gd name="T41" fmla="*/ 5198 h 5204"/>
                <a:gd name="T42" fmla="*/ 493 w 2673"/>
                <a:gd name="T43" fmla="*/ 5178 h 5204"/>
                <a:gd name="T44" fmla="*/ 428 w 2673"/>
                <a:gd name="T45" fmla="*/ 5155 h 5204"/>
                <a:gd name="T46" fmla="*/ 336 w 2673"/>
                <a:gd name="T47" fmla="*/ 5110 h 5204"/>
                <a:gd name="T48" fmla="*/ 253 w 2673"/>
                <a:gd name="T49" fmla="*/ 5053 h 5204"/>
                <a:gd name="T50" fmla="*/ 180 w 2673"/>
                <a:gd name="T51" fmla="*/ 4985 h 5204"/>
                <a:gd name="T52" fmla="*/ 120 w 2673"/>
                <a:gd name="T53" fmla="*/ 4908 h 5204"/>
                <a:gd name="T54" fmla="*/ 71 w 2673"/>
                <a:gd name="T55" fmla="*/ 4823 h 5204"/>
                <a:gd name="T56" fmla="*/ 33 w 2673"/>
                <a:gd name="T57" fmla="*/ 4732 h 5204"/>
                <a:gd name="T58" fmla="*/ 10 w 2673"/>
                <a:gd name="T59" fmla="*/ 4637 h 5204"/>
                <a:gd name="T60" fmla="*/ 0 w 2673"/>
                <a:gd name="T61" fmla="*/ 4539 h 5204"/>
                <a:gd name="T62" fmla="*/ 5 w 2673"/>
                <a:gd name="T63" fmla="*/ 4438 h 5204"/>
                <a:gd name="T64" fmla="*/ 26 w 2673"/>
                <a:gd name="T65" fmla="*/ 4339 h 5204"/>
                <a:gd name="T66" fmla="*/ 1363 w 2673"/>
                <a:gd name="T67" fmla="*/ 427 h 5204"/>
                <a:gd name="T68" fmla="*/ 1408 w 2673"/>
                <a:gd name="T69" fmla="*/ 334 h 5204"/>
                <a:gd name="T70" fmla="*/ 1465 w 2673"/>
                <a:gd name="T71" fmla="*/ 252 h 5204"/>
                <a:gd name="T72" fmla="*/ 1533 w 2673"/>
                <a:gd name="T73" fmla="*/ 180 h 5204"/>
                <a:gd name="T74" fmla="*/ 1610 w 2673"/>
                <a:gd name="T75" fmla="*/ 119 h 5204"/>
                <a:gd name="T76" fmla="*/ 1695 w 2673"/>
                <a:gd name="T77" fmla="*/ 69 h 5204"/>
                <a:gd name="T78" fmla="*/ 1785 w 2673"/>
                <a:gd name="T79" fmla="*/ 33 h 5204"/>
                <a:gd name="T80" fmla="*/ 1881 w 2673"/>
                <a:gd name="T81" fmla="*/ 9 h 5204"/>
                <a:gd name="T82" fmla="*/ 1980 w 2673"/>
                <a:gd name="T83" fmla="*/ 0 h 5204"/>
                <a:gd name="T84" fmla="*/ 2079 w 2673"/>
                <a:gd name="T85" fmla="*/ 5 h 5204"/>
                <a:gd name="T86" fmla="*/ 2180 w 2673"/>
                <a:gd name="T87" fmla="*/ 25 h 5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73" h="5204">
                  <a:moveTo>
                    <a:pt x="2213" y="35"/>
                  </a:moveTo>
                  <a:lnTo>
                    <a:pt x="2214" y="35"/>
                  </a:lnTo>
                  <a:lnTo>
                    <a:pt x="2246" y="48"/>
                  </a:lnTo>
                  <a:lnTo>
                    <a:pt x="2278" y="61"/>
                  </a:lnTo>
                  <a:lnTo>
                    <a:pt x="2308" y="77"/>
                  </a:lnTo>
                  <a:lnTo>
                    <a:pt x="2338" y="93"/>
                  </a:lnTo>
                  <a:lnTo>
                    <a:pt x="2366" y="111"/>
                  </a:lnTo>
                  <a:lnTo>
                    <a:pt x="2394" y="129"/>
                  </a:lnTo>
                  <a:lnTo>
                    <a:pt x="2420" y="150"/>
                  </a:lnTo>
                  <a:lnTo>
                    <a:pt x="2446" y="172"/>
                  </a:lnTo>
                  <a:lnTo>
                    <a:pt x="2470" y="195"/>
                  </a:lnTo>
                  <a:lnTo>
                    <a:pt x="2493" y="217"/>
                  </a:lnTo>
                  <a:lnTo>
                    <a:pt x="2515" y="242"/>
                  </a:lnTo>
                  <a:lnTo>
                    <a:pt x="2535" y="268"/>
                  </a:lnTo>
                  <a:lnTo>
                    <a:pt x="2554" y="295"/>
                  </a:lnTo>
                  <a:lnTo>
                    <a:pt x="2572" y="322"/>
                  </a:lnTo>
                  <a:lnTo>
                    <a:pt x="2588" y="350"/>
                  </a:lnTo>
                  <a:lnTo>
                    <a:pt x="2604" y="379"/>
                  </a:lnTo>
                  <a:lnTo>
                    <a:pt x="2617" y="409"/>
                  </a:lnTo>
                  <a:lnTo>
                    <a:pt x="2630" y="439"/>
                  </a:lnTo>
                  <a:lnTo>
                    <a:pt x="2640" y="470"/>
                  </a:lnTo>
                  <a:lnTo>
                    <a:pt x="2649" y="501"/>
                  </a:lnTo>
                  <a:lnTo>
                    <a:pt x="2658" y="533"/>
                  </a:lnTo>
                  <a:lnTo>
                    <a:pt x="2664" y="565"/>
                  </a:lnTo>
                  <a:lnTo>
                    <a:pt x="2669" y="599"/>
                  </a:lnTo>
                  <a:lnTo>
                    <a:pt x="2672" y="631"/>
                  </a:lnTo>
                  <a:lnTo>
                    <a:pt x="2673" y="664"/>
                  </a:lnTo>
                  <a:lnTo>
                    <a:pt x="2673" y="698"/>
                  </a:lnTo>
                  <a:lnTo>
                    <a:pt x="2672" y="731"/>
                  </a:lnTo>
                  <a:lnTo>
                    <a:pt x="2668" y="764"/>
                  </a:lnTo>
                  <a:lnTo>
                    <a:pt x="2663" y="797"/>
                  </a:lnTo>
                  <a:lnTo>
                    <a:pt x="2657" y="832"/>
                  </a:lnTo>
                  <a:lnTo>
                    <a:pt x="2647" y="865"/>
                  </a:lnTo>
                  <a:lnTo>
                    <a:pt x="2637" y="898"/>
                  </a:lnTo>
                  <a:lnTo>
                    <a:pt x="1323" y="4744"/>
                  </a:lnTo>
                  <a:lnTo>
                    <a:pt x="1311" y="4777"/>
                  </a:lnTo>
                  <a:lnTo>
                    <a:pt x="1297" y="4808"/>
                  </a:lnTo>
                  <a:lnTo>
                    <a:pt x="1283" y="4839"/>
                  </a:lnTo>
                  <a:lnTo>
                    <a:pt x="1266" y="4869"/>
                  </a:lnTo>
                  <a:lnTo>
                    <a:pt x="1249" y="4897"/>
                  </a:lnTo>
                  <a:lnTo>
                    <a:pt x="1229" y="4925"/>
                  </a:lnTo>
                  <a:lnTo>
                    <a:pt x="1209" y="4951"/>
                  </a:lnTo>
                  <a:lnTo>
                    <a:pt x="1187" y="4977"/>
                  </a:lnTo>
                  <a:lnTo>
                    <a:pt x="1165" y="5001"/>
                  </a:lnTo>
                  <a:lnTo>
                    <a:pt x="1141" y="5023"/>
                  </a:lnTo>
                  <a:lnTo>
                    <a:pt x="1116" y="5045"/>
                  </a:lnTo>
                  <a:lnTo>
                    <a:pt x="1090" y="5065"/>
                  </a:lnTo>
                  <a:lnTo>
                    <a:pt x="1064" y="5084"/>
                  </a:lnTo>
                  <a:lnTo>
                    <a:pt x="1036" y="5102"/>
                  </a:lnTo>
                  <a:lnTo>
                    <a:pt x="1008" y="5119"/>
                  </a:lnTo>
                  <a:lnTo>
                    <a:pt x="979" y="5133"/>
                  </a:lnTo>
                  <a:lnTo>
                    <a:pt x="949" y="5148"/>
                  </a:lnTo>
                  <a:lnTo>
                    <a:pt x="919" y="5160"/>
                  </a:lnTo>
                  <a:lnTo>
                    <a:pt x="888" y="5170"/>
                  </a:lnTo>
                  <a:lnTo>
                    <a:pt x="857" y="5180"/>
                  </a:lnTo>
                  <a:lnTo>
                    <a:pt x="825" y="5188"/>
                  </a:lnTo>
                  <a:lnTo>
                    <a:pt x="793" y="5194"/>
                  </a:lnTo>
                  <a:lnTo>
                    <a:pt x="761" y="5198"/>
                  </a:lnTo>
                  <a:lnTo>
                    <a:pt x="727" y="5201"/>
                  </a:lnTo>
                  <a:lnTo>
                    <a:pt x="694" y="5204"/>
                  </a:lnTo>
                  <a:lnTo>
                    <a:pt x="661" y="5204"/>
                  </a:lnTo>
                  <a:lnTo>
                    <a:pt x="628" y="5201"/>
                  </a:lnTo>
                  <a:lnTo>
                    <a:pt x="594" y="5198"/>
                  </a:lnTo>
                  <a:lnTo>
                    <a:pt x="561" y="5193"/>
                  </a:lnTo>
                  <a:lnTo>
                    <a:pt x="526" y="5187"/>
                  </a:lnTo>
                  <a:lnTo>
                    <a:pt x="493" y="5178"/>
                  </a:lnTo>
                  <a:lnTo>
                    <a:pt x="460" y="5167"/>
                  </a:lnTo>
                  <a:lnTo>
                    <a:pt x="460" y="5167"/>
                  </a:lnTo>
                  <a:lnTo>
                    <a:pt x="428" y="5155"/>
                  </a:lnTo>
                  <a:lnTo>
                    <a:pt x="396" y="5141"/>
                  </a:lnTo>
                  <a:lnTo>
                    <a:pt x="365" y="5127"/>
                  </a:lnTo>
                  <a:lnTo>
                    <a:pt x="336" y="5110"/>
                  </a:lnTo>
                  <a:lnTo>
                    <a:pt x="307" y="5093"/>
                  </a:lnTo>
                  <a:lnTo>
                    <a:pt x="280" y="5073"/>
                  </a:lnTo>
                  <a:lnTo>
                    <a:pt x="253" y="5053"/>
                  </a:lnTo>
                  <a:lnTo>
                    <a:pt x="228" y="5032"/>
                  </a:lnTo>
                  <a:lnTo>
                    <a:pt x="204" y="5009"/>
                  </a:lnTo>
                  <a:lnTo>
                    <a:pt x="180" y="4985"/>
                  </a:lnTo>
                  <a:lnTo>
                    <a:pt x="160" y="4960"/>
                  </a:lnTo>
                  <a:lnTo>
                    <a:pt x="139" y="4934"/>
                  </a:lnTo>
                  <a:lnTo>
                    <a:pt x="120" y="4908"/>
                  </a:lnTo>
                  <a:lnTo>
                    <a:pt x="102" y="4880"/>
                  </a:lnTo>
                  <a:lnTo>
                    <a:pt x="85" y="4852"/>
                  </a:lnTo>
                  <a:lnTo>
                    <a:pt x="71" y="4823"/>
                  </a:lnTo>
                  <a:lnTo>
                    <a:pt x="57" y="4793"/>
                  </a:lnTo>
                  <a:lnTo>
                    <a:pt x="45" y="4763"/>
                  </a:lnTo>
                  <a:lnTo>
                    <a:pt x="33" y="4732"/>
                  </a:lnTo>
                  <a:lnTo>
                    <a:pt x="24" y="4701"/>
                  </a:lnTo>
                  <a:lnTo>
                    <a:pt x="17" y="4669"/>
                  </a:lnTo>
                  <a:lnTo>
                    <a:pt x="10" y="4637"/>
                  </a:lnTo>
                  <a:lnTo>
                    <a:pt x="5" y="4605"/>
                  </a:lnTo>
                  <a:lnTo>
                    <a:pt x="2" y="4572"/>
                  </a:lnTo>
                  <a:lnTo>
                    <a:pt x="0" y="4539"/>
                  </a:lnTo>
                  <a:lnTo>
                    <a:pt x="0" y="4505"/>
                  </a:lnTo>
                  <a:lnTo>
                    <a:pt x="2" y="4472"/>
                  </a:lnTo>
                  <a:lnTo>
                    <a:pt x="5" y="4438"/>
                  </a:lnTo>
                  <a:lnTo>
                    <a:pt x="10" y="4405"/>
                  </a:lnTo>
                  <a:lnTo>
                    <a:pt x="18" y="4372"/>
                  </a:lnTo>
                  <a:lnTo>
                    <a:pt x="26" y="4339"/>
                  </a:lnTo>
                  <a:lnTo>
                    <a:pt x="36" y="4304"/>
                  </a:lnTo>
                  <a:lnTo>
                    <a:pt x="1351" y="459"/>
                  </a:lnTo>
                  <a:lnTo>
                    <a:pt x="1363" y="427"/>
                  </a:lnTo>
                  <a:lnTo>
                    <a:pt x="1376" y="395"/>
                  </a:lnTo>
                  <a:lnTo>
                    <a:pt x="1392" y="364"/>
                  </a:lnTo>
                  <a:lnTo>
                    <a:pt x="1408" y="334"/>
                  </a:lnTo>
                  <a:lnTo>
                    <a:pt x="1426" y="305"/>
                  </a:lnTo>
                  <a:lnTo>
                    <a:pt x="1444" y="279"/>
                  </a:lnTo>
                  <a:lnTo>
                    <a:pt x="1465" y="252"/>
                  </a:lnTo>
                  <a:lnTo>
                    <a:pt x="1487" y="227"/>
                  </a:lnTo>
                  <a:lnTo>
                    <a:pt x="1510" y="203"/>
                  </a:lnTo>
                  <a:lnTo>
                    <a:pt x="1533" y="180"/>
                  </a:lnTo>
                  <a:lnTo>
                    <a:pt x="1558" y="158"/>
                  </a:lnTo>
                  <a:lnTo>
                    <a:pt x="1583" y="138"/>
                  </a:lnTo>
                  <a:lnTo>
                    <a:pt x="1610" y="119"/>
                  </a:lnTo>
                  <a:lnTo>
                    <a:pt x="1637" y="101"/>
                  </a:lnTo>
                  <a:lnTo>
                    <a:pt x="1666" y="85"/>
                  </a:lnTo>
                  <a:lnTo>
                    <a:pt x="1695" y="69"/>
                  </a:lnTo>
                  <a:lnTo>
                    <a:pt x="1724" y="56"/>
                  </a:lnTo>
                  <a:lnTo>
                    <a:pt x="1755" y="43"/>
                  </a:lnTo>
                  <a:lnTo>
                    <a:pt x="1785" y="33"/>
                  </a:lnTo>
                  <a:lnTo>
                    <a:pt x="1817" y="24"/>
                  </a:lnTo>
                  <a:lnTo>
                    <a:pt x="1848" y="15"/>
                  </a:lnTo>
                  <a:lnTo>
                    <a:pt x="1881" y="9"/>
                  </a:lnTo>
                  <a:lnTo>
                    <a:pt x="1914" y="4"/>
                  </a:lnTo>
                  <a:lnTo>
                    <a:pt x="1947" y="1"/>
                  </a:lnTo>
                  <a:lnTo>
                    <a:pt x="1980" y="0"/>
                  </a:lnTo>
                  <a:lnTo>
                    <a:pt x="2013" y="0"/>
                  </a:lnTo>
                  <a:lnTo>
                    <a:pt x="2046" y="1"/>
                  </a:lnTo>
                  <a:lnTo>
                    <a:pt x="2079" y="5"/>
                  </a:lnTo>
                  <a:lnTo>
                    <a:pt x="2114" y="9"/>
                  </a:lnTo>
                  <a:lnTo>
                    <a:pt x="2147" y="16"/>
                  </a:lnTo>
                  <a:lnTo>
                    <a:pt x="2180" y="25"/>
                  </a:lnTo>
                  <a:lnTo>
                    <a:pt x="221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1590" y="2748"/>
              <a:ext cx="756" cy="648"/>
            </a:xfrm>
            <a:custGeom>
              <a:avLst/>
              <a:gdLst>
                <a:gd name="T0" fmla="*/ 126 w 4538"/>
                <a:gd name="T1" fmla="*/ 3606 h 3889"/>
                <a:gd name="T2" fmla="*/ 74 w 4538"/>
                <a:gd name="T3" fmla="*/ 3518 h 3889"/>
                <a:gd name="T4" fmla="*/ 34 w 4538"/>
                <a:gd name="T5" fmla="*/ 3426 h 3889"/>
                <a:gd name="T6" fmla="*/ 10 w 4538"/>
                <a:gd name="T7" fmla="*/ 3330 h 3889"/>
                <a:gd name="T8" fmla="*/ 0 w 4538"/>
                <a:gd name="T9" fmla="*/ 3232 h 3889"/>
                <a:gd name="T10" fmla="*/ 4 w 4538"/>
                <a:gd name="T11" fmla="*/ 3134 h 3889"/>
                <a:gd name="T12" fmla="*/ 23 w 4538"/>
                <a:gd name="T13" fmla="*/ 3038 h 3889"/>
                <a:gd name="T14" fmla="*/ 54 w 4538"/>
                <a:gd name="T15" fmla="*/ 2944 h 3889"/>
                <a:gd name="T16" fmla="*/ 98 w 4538"/>
                <a:gd name="T17" fmla="*/ 2856 h 3889"/>
                <a:gd name="T18" fmla="*/ 157 w 4538"/>
                <a:gd name="T19" fmla="*/ 2775 h 3889"/>
                <a:gd name="T20" fmla="*/ 229 w 4538"/>
                <a:gd name="T21" fmla="*/ 2701 h 3889"/>
                <a:gd name="T22" fmla="*/ 3463 w 4538"/>
                <a:gd name="T23" fmla="*/ 126 h 3889"/>
                <a:gd name="T24" fmla="*/ 3551 w 4538"/>
                <a:gd name="T25" fmla="*/ 72 h 3889"/>
                <a:gd name="T26" fmla="*/ 3643 w 4538"/>
                <a:gd name="T27" fmla="*/ 34 h 3889"/>
                <a:gd name="T28" fmla="*/ 3739 w 4538"/>
                <a:gd name="T29" fmla="*/ 10 h 3889"/>
                <a:gd name="T30" fmla="*/ 3837 w 4538"/>
                <a:gd name="T31" fmla="*/ 0 h 3889"/>
                <a:gd name="T32" fmla="*/ 3935 w 4538"/>
                <a:gd name="T33" fmla="*/ 4 h 3889"/>
                <a:gd name="T34" fmla="*/ 4031 w 4538"/>
                <a:gd name="T35" fmla="*/ 22 h 3889"/>
                <a:gd name="T36" fmla="*/ 4125 w 4538"/>
                <a:gd name="T37" fmla="*/ 54 h 3889"/>
                <a:gd name="T38" fmla="*/ 4213 w 4538"/>
                <a:gd name="T39" fmla="*/ 98 h 3889"/>
                <a:gd name="T40" fmla="*/ 4295 w 4538"/>
                <a:gd name="T41" fmla="*/ 157 h 3889"/>
                <a:gd name="T42" fmla="*/ 4368 w 4538"/>
                <a:gd name="T43" fmla="*/ 229 h 3889"/>
                <a:gd name="T44" fmla="*/ 4412 w 4538"/>
                <a:gd name="T45" fmla="*/ 283 h 3889"/>
                <a:gd name="T46" fmla="*/ 4464 w 4538"/>
                <a:gd name="T47" fmla="*/ 371 h 3889"/>
                <a:gd name="T48" fmla="*/ 4503 w 4538"/>
                <a:gd name="T49" fmla="*/ 463 h 3889"/>
                <a:gd name="T50" fmla="*/ 4528 w 4538"/>
                <a:gd name="T51" fmla="*/ 559 h 3889"/>
                <a:gd name="T52" fmla="*/ 4537 w 4538"/>
                <a:gd name="T53" fmla="*/ 656 h 3889"/>
                <a:gd name="T54" fmla="*/ 4534 w 4538"/>
                <a:gd name="T55" fmla="*/ 755 h 3889"/>
                <a:gd name="T56" fmla="*/ 4515 w 4538"/>
                <a:gd name="T57" fmla="*/ 851 h 3889"/>
                <a:gd name="T58" fmla="*/ 4484 w 4538"/>
                <a:gd name="T59" fmla="*/ 944 h 3889"/>
                <a:gd name="T60" fmla="*/ 4439 w 4538"/>
                <a:gd name="T61" fmla="*/ 1032 h 3889"/>
                <a:gd name="T62" fmla="*/ 4381 w 4538"/>
                <a:gd name="T63" fmla="*/ 1114 h 3889"/>
                <a:gd name="T64" fmla="*/ 4309 w 4538"/>
                <a:gd name="T65" fmla="*/ 1187 h 3889"/>
                <a:gd name="T66" fmla="*/ 1074 w 4538"/>
                <a:gd name="T67" fmla="*/ 3763 h 3889"/>
                <a:gd name="T68" fmla="*/ 987 w 4538"/>
                <a:gd name="T69" fmla="*/ 3815 h 3889"/>
                <a:gd name="T70" fmla="*/ 894 w 4538"/>
                <a:gd name="T71" fmla="*/ 3855 h 3889"/>
                <a:gd name="T72" fmla="*/ 799 w 4538"/>
                <a:gd name="T73" fmla="*/ 3879 h 3889"/>
                <a:gd name="T74" fmla="*/ 700 w 4538"/>
                <a:gd name="T75" fmla="*/ 3889 h 3889"/>
                <a:gd name="T76" fmla="*/ 603 w 4538"/>
                <a:gd name="T77" fmla="*/ 3885 h 3889"/>
                <a:gd name="T78" fmla="*/ 507 w 4538"/>
                <a:gd name="T79" fmla="*/ 3867 h 3889"/>
                <a:gd name="T80" fmla="*/ 413 w 4538"/>
                <a:gd name="T81" fmla="*/ 3835 h 3889"/>
                <a:gd name="T82" fmla="*/ 325 w 4538"/>
                <a:gd name="T83" fmla="*/ 3791 h 3889"/>
                <a:gd name="T84" fmla="*/ 243 w 4538"/>
                <a:gd name="T85" fmla="*/ 3732 h 3889"/>
                <a:gd name="T86" fmla="*/ 170 w 4538"/>
                <a:gd name="T87" fmla="*/ 3660 h 3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38" h="3889">
                  <a:moveTo>
                    <a:pt x="147" y="3634"/>
                  </a:moveTo>
                  <a:lnTo>
                    <a:pt x="147" y="3634"/>
                  </a:lnTo>
                  <a:lnTo>
                    <a:pt x="126" y="3606"/>
                  </a:lnTo>
                  <a:lnTo>
                    <a:pt x="107" y="3577"/>
                  </a:lnTo>
                  <a:lnTo>
                    <a:pt x="89" y="3548"/>
                  </a:lnTo>
                  <a:lnTo>
                    <a:pt x="74" y="3518"/>
                  </a:lnTo>
                  <a:lnTo>
                    <a:pt x="59" y="3488"/>
                  </a:lnTo>
                  <a:lnTo>
                    <a:pt x="46" y="3457"/>
                  </a:lnTo>
                  <a:lnTo>
                    <a:pt x="34" y="3426"/>
                  </a:lnTo>
                  <a:lnTo>
                    <a:pt x="25" y="3394"/>
                  </a:lnTo>
                  <a:lnTo>
                    <a:pt x="17" y="3362"/>
                  </a:lnTo>
                  <a:lnTo>
                    <a:pt x="10" y="3330"/>
                  </a:lnTo>
                  <a:lnTo>
                    <a:pt x="5" y="3298"/>
                  </a:lnTo>
                  <a:lnTo>
                    <a:pt x="2" y="3264"/>
                  </a:lnTo>
                  <a:lnTo>
                    <a:pt x="0" y="3232"/>
                  </a:lnTo>
                  <a:lnTo>
                    <a:pt x="0" y="3199"/>
                  </a:lnTo>
                  <a:lnTo>
                    <a:pt x="1" y="3167"/>
                  </a:lnTo>
                  <a:lnTo>
                    <a:pt x="4" y="3134"/>
                  </a:lnTo>
                  <a:lnTo>
                    <a:pt x="9" y="3102"/>
                  </a:lnTo>
                  <a:lnTo>
                    <a:pt x="15" y="3070"/>
                  </a:lnTo>
                  <a:lnTo>
                    <a:pt x="23" y="3038"/>
                  </a:lnTo>
                  <a:lnTo>
                    <a:pt x="31" y="3007"/>
                  </a:lnTo>
                  <a:lnTo>
                    <a:pt x="41" y="2975"/>
                  </a:lnTo>
                  <a:lnTo>
                    <a:pt x="54" y="2944"/>
                  </a:lnTo>
                  <a:lnTo>
                    <a:pt x="67" y="2914"/>
                  </a:lnTo>
                  <a:lnTo>
                    <a:pt x="83" y="2885"/>
                  </a:lnTo>
                  <a:lnTo>
                    <a:pt x="98" y="2856"/>
                  </a:lnTo>
                  <a:lnTo>
                    <a:pt x="117" y="2828"/>
                  </a:lnTo>
                  <a:lnTo>
                    <a:pt x="137" y="2801"/>
                  </a:lnTo>
                  <a:lnTo>
                    <a:pt x="157" y="2775"/>
                  </a:lnTo>
                  <a:lnTo>
                    <a:pt x="179" y="2750"/>
                  </a:lnTo>
                  <a:lnTo>
                    <a:pt x="203" y="2725"/>
                  </a:lnTo>
                  <a:lnTo>
                    <a:pt x="229" y="2701"/>
                  </a:lnTo>
                  <a:lnTo>
                    <a:pt x="256" y="2679"/>
                  </a:lnTo>
                  <a:lnTo>
                    <a:pt x="3435" y="147"/>
                  </a:lnTo>
                  <a:lnTo>
                    <a:pt x="3463" y="126"/>
                  </a:lnTo>
                  <a:lnTo>
                    <a:pt x="3492" y="106"/>
                  </a:lnTo>
                  <a:lnTo>
                    <a:pt x="3521" y="89"/>
                  </a:lnTo>
                  <a:lnTo>
                    <a:pt x="3551" y="72"/>
                  </a:lnTo>
                  <a:lnTo>
                    <a:pt x="3581" y="58"/>
                  </a:lnTo>
                  <a:lnTo>
                    <a:pt x="3612" y="45"/>
                  </a:lnTo>
                  <a:lnTo>
                    <a:pt x="3643" y="34"/>
                  </a:lnTo>
                  <a:lnTo>
                    <a:pt x="3675" y="25"/>
                  </a:lnTo>
                  <a:lnTo>
                    <a:pt x="3707" y="16"/>
                  </a:lnTo>
                  <a:lnTo>
                    <a:pt x="3739" y="10"/>
                  </a:lnTo>
                  <a:lnTo>
                    <a:pt x="3771" y="5"/>
                  </a:lnTo>
                  <a:lnTo>
                    <a:pt x="3804" y="2"/>
                  </a:lnTo>
                  <a:lnTo>
                    <a:pt x="3837" y="0"/>
                  </a:lnTo>
                  <a:lnTo>
                    <a:pt x="3870" y="0"/>
                  </a:lnTo>
                  <a:lnTo>
                    <a:pt x="3903" y="1"/>
                  </a:lnTo>
                  <a:lnTo>
                    <a:pt x="3935" y="4"/>
                  </a:lnTo>
                  <a:lnTo>
                    <a:pt x="3967" y="8"/>
                  </a:lnTo>
                  <a:lnTo>
                    <a:pt x="3999" y="14"/>
                  </a:lnTo>
                  <a:lnTo>
                    <a:pt x="4031" y="22"/>
                  </a:lnTo>
                  <a:lnTo>
                    <a:pt x="4062" y="31"/>
                  </a:lnTo>
                  <a:lnTo>
                    <a:pt x="4094" y="41"/>
                  </a:lnTo>
                  <a:lnTo>
                    <a:pt x="4125" y="54"/>
                  </a:lnTo>
                  <a:lnTo>
                    <a:pt x="4155" y="67"/>
                  </a:lnTo>
                  <a:lnTo>
                    <a:pt x="4184" y="82"/>
                  </a:lnTo>
                  <a:lnTo>
                    <a:pt x="4213" y="98"/>
                  </a:lnTo>
                  <a:lnTo>
                    <a:pt x="4241" y="117"/>
                  </a:lnTo>
                  <a:lnTo>
                    <a:pt x="4268" y="135"/>
                  </a:lnTo>
                  <a:lnTo>
                    <a:pt x="4295" y="157"/>
                  </a:lnTo>
                  <a:lnTo>
                    <a:pt x="4319" y="179"/>
                  </a:lnTo>
                  <a:lnTo>
                    <a:pt x="4344" y="203"/>
                  </a:lnTo>
                  <a:lnTo>
                    <a:pt x="4368" y="229"/>
                  </a:lnTo>
                  <a:lnTo>
                    <a:pt x="4390" y="255"/>
                  </a:lnTo>
                  <a:lnTo>
                    <a:pt x="4390" y="255"/>
                  </a:lnTo>
                  <a:lnTo>
                    <a:pt x="4412" y="283"/>
                  </a:lnTo>
                  <a:lnTo>
                    <a:pt x="4430" y="312"/>
                  </a:lnTo>
                  <a:lnTo>
                    <a:pt x="4449" y="341"/>
                  </a:lnTo>
                  <a:lnTo>
                    <a:pt x="4464" y="371"/>
                  </a:lnTo>
                  <a:lnTo>
                    <a:pt x="4479" y="401"/>
                  </a:lnTo>
                  <a:lnTo>
                    <a:pt x="4492" y="432"/>
                  </a:lnTo>
                  <a:lnTo>
                    <a:pt x="4503" y="463"/>
                  </a:lnTo>
                  <a:lnTo>
                    <a:pt x="4513" y="495"/>
                  </a:lnTo>
                  <a:lnTo>
                    <a:pt x="4521" y="527"/>
                  </a:lnTo>
                  <a:lnTo>
                    <a:pt x="4528" y="559"/>
                  </a:lnTo>
                  <a:lnTo>
                    <a:pt x="4533" y="591"/>
                  </a:lnTo>
                  <a:lnTo>
                    <a:pt x="4536" y="624"/>
                  </a:lnTo>
                  <a:lnTo>
                    <a:pt x="4537" y="656"/>
                  </a:lnTo>
                  <a:lnTo>
                    <a:pt x="4538" y="690"/>
                  </a:lnTo>
                  <a:lnTo>
                    <a:pt x="4536" y="722"/>
                  </a:lnTo>
                  <a:lnTo>
                    <a:pt x="4534" y="755"/>
                  </a:lnTo>
                  <a:lnTo>
                    <a:pt x="4529" y="787"/>
                  </a:lnTo>
                  <a:lnTo>
                    <a:pt x="4522" y="819"/>
                  </a:lnTo>
                  <a:lnTo>
                    <a:pt x="4515" y="851"/>
                  </a:lnTo>
                  <a:lnTo>
                    <a:pt x="4507" y="882"/>
                  </a:lnTo>
                  <a:lnTo>
                    <a:pt x="4496" y="913"/>
                  </a:lnTo>
                  <a:lnTo>
                    <a:pt x="4484" y="944"/>
                  </a:lnTo>
                  <a:lnTo>
                    <a:pt x="4471" y="973"/>
                  </a:lnTo>
                  <a:lnTo>
                    <a:pt x="4455" y="1003"/>
                  </a:lnTo>
                  <a:lnTo>
                    <a:pt x="4439" y="1032"/>
                  </a:lnTo>
                  <a:lnTo>
                    <a:pt x="4421" y="1060"/>
                  </a:lnTo>
                  <a:lnTo>
                    <a:pt x="4401" y="1087"/>
                  </a:lnTo>
                  <a:lnTo>
                    <a:pt x="4381" y="1114"/>
                  </a:lnTo>
                  <a:lnTo>
                    <a:pt x="4358" y="1139"/>
                  </a:lnTo>
                  <a:lnTo>
                    <a:pt x="4334" y="1164"/>
                  </a:lnTo>
                  <a:lnTo>
                    <a:pt x="4309" y="1187"/>
                  </a:lnTo>
                  <a:lnTo>
                    <a:pt x="4282" y="1210"/>
                  </a:lnTo>
                  <a:lnTo>
                    <a:pt x="1102" y="3742"/>
                  </a:lnTo>
                  <a:lnTo>
                    <a:pt x="1074" y="3763"/>
                  </a:lnTo>
                  <a:lnTo>
                    <a:pt x="1046" y="3782"/>
                  </a:lnTo>
                  <a:lnTo>
                    <a:pt x="1017" y="3800"/>
                  </a:lnTo>
                  <a:lnTo>
                    <a:pt x="987" y="3815"/>
                  </a:lnTo>
                  <a:lnTo>
                    <a:pt x="957" y="3830"/>
                  </a:lnTo>
                  <a:lnTo>
                    <a:pt x="926" y="3843"/>
                  </a:lnTo>
                  <a:lnTo>
                    <a:pt x="894" y="3855"/>
                  </a:lnTo>
                  <a:lnTo>
                    <a:pt x="863" y="3864"/>
                  </a:lnTo>
                  <a:lnTo>
                    <a:pt x="831" y="3872"/>
                  </a:lnTo>
                  <a:lnTo>
                    <a:pt x="799" y="3879"/>
                  </a:lnTo>
                  <a:lnTo>
                    <a:pt x="766" y="3884"/>
                  </a:lnTo>
                  <a:lnTo>
                    <a:pt x="734" y="3887"/>
                  </a:lnTo>
                  <a:lnTo>
                    <a:pt x="700" y="3889"/>
                  </a:lnTo>
                  <a:lnTo>
                    <a:pt x="668" y="3889"/>
                  </a:lnTo>
                  <a:lnTo>
                    <a:pt x="635" y="3888"/>
                  </a:lnTo>
                  <a:lnTo>
                    <a:pt x="603" y="3885"/>
                  </a:lnTo>
                  <a:lnTo>
                    <a:pt x="571" y="3881"/>
                  </a:lnTo>
                  <a:lnTo>
                    <a:pt x="539" y="3874"/>
                  </a:lnTo>
                  <a:lnTo>
                    <a:pt x="507" y="3867"/>
                  </a:lnTo>
                  <a:lnTo>
                    <a:pt x="475" y="3858"/>
                  </a:lnTo>
                  <a:lnTo>
                    <a:pt x="443" y="3848"/>
                  </a:lnTo>
                  <a:lnTo>
                    <a:pt x="413" y="3835"/>
                  </a:lnTo>
                  <a:lnTo>
                    <a:pt x="383" y="3822"/>
                  </a:lnTo>
                  <a:lnTo>
                    <a:pt x="354" y="3806"/>
                  </a:lnTo>
                  <a:lnTo>
                    <a:pt x="325" y="3791"/>
                  </a:lnTo>
                  <a:lnTo>
                    <a:pt x="297" y="3772"/>
                  </a:lnTo>
                  <a:lnTo>
                    <a:pt x="269" y="3752"/>
                  </a:lnTo>
                  <a:lnTo>
                    <a:pt x="243" y="3732"/>
                  </a:lnTo>
                  <a:lnTo>
                    <a:pt x="218" y="3710"/>
                  </a:lnTo>
                  <a:lnTo>
                    <a:pt x="194" y="3686"/>
                  </a:lnTo>
                  <a:lnTo>
                    <a:pt x="170" y="3660"/>
                  </a:lnTo>
                  <a:lnTo>
                    <a:pt x="147" y="36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2357" y="2093"/>
              <a:ext cx="842" cy="508"/>
            </a:xfrm>
            <a:custGeom>
              <a:avLst/>
              <a:gdLst>
                <a:gd name="T0" fmla="*/ 77 w 5054"/>
                <a:gd name="T1" fmla="*/ 365 h 3050"/>
                <a:gd name="T2" fmla="*/ 131 w 5054"/>
                <a:gd name="T3" fmla="*/ 278 h 3050"/>
                <a:gd name="T4" fmla="*/ 196 w 5054"/>
                <a:gd name="T5" fmla="*/ 201 h 3050"/>
                <a:gd name="T6" fmla="*/ 272 w 5054"/>
                <a:gd name="T7" fmla="*/ 136 h 3050"/>
                <a:gd name="T8" fmla="*/ 354 w 5054"/>
                <a:gd name="T9" fmla="*/ 83 h 3050"/>
                <a:gd name="T10" fmla="*/ 443 w 5054"/>
                <a:gd name="T11" fmla="*/ 43 h 3050"/>
                <a:gd name="T12" fmla="*/ 537 w 5054"/>
                <a:gd name="T13" fmla="*/ 15 h 3050"/>
                <a:gd name="T14" fmla="*/ 634 w 5054"/>
                <a:gd name="T15" fmla="*/ 1 h 3050"/>
                <a:gd name="T16" fmla="*/ 734 w 5054"/>
                <a:gd name="T17" fmla="*/ 1 h 3050"/>
                <a:gd name="T18" fmla="*/ 832 w 5054"/>
                <a:gd name="T19" fmla="*/ 17 h 3050"/>
                <a:gd name="T20" fmla="*/ 931 w 5054"/>
                <a:gd name="T21" fmla="*/ 48 h 3050"/>
                <a:gd name="T22" fmla="*/ 4690 w 5054"/>
                <a:gd name="T23" fmla="*/ 1769 h 3050"/>
                <a:gd name="T24" fmla="*/ 4777 w 5054"/>
                <a:gd name="T25" fmla="*/ 1823 h 3050"/>
                <a:gd name="T26" fmla="*/ 4853 w 5054"/>
                <a:gd name="T27" fmla="*/ 1888 h 3050"/>
                <a:gd name="T28" fmla="*/ 4919 w 5054"/>
                <a:gd name="T29" fmla="*/ 1963 h 3050"/>
                <a:gd name="T30" fmla="*/ 4971 w 5054"/>
                <a:gd name="T31" fmla="*/ 2046 h 3050"/>
                <a:gd name="T32" fmla="*/ 5012 w 5054"/>
                <a:gd name="T33" fmla="*/ 2135 h 3050"/>
                <a:gd name="T34" fmla="*/ 5039 w 5054"/>
                <a:gd name="T35" fmla="*/ 2229 h 3050"/>
                <a:gd name="T36" fmla="*/ 5053 w 5054"/>
                <a:gd name="T37" fmla="*/ 2326 h 3050"/>
                <a:gd name="T38" fmla="*/ 5053 w 5054"/>
                <a:gd name="T39" fmla="*/ 2426 h 3050"/>
                <a:gd name="T40" fmla="*/ 5038 w 5054"/>
                <a:gd name="T41" fmla="*/ 2524 h 3050"/>
                <a:gd name="T42" fmla="*/ 5007 w 5054"/>
                <a:gd name="T43" fmla="*/ 2623 h 3050"/>
                <a:gd name="T44" fmla="*/ 4978 w 5054"/>
                <a:gd name="T45" fmla="*/ 2686 h 3050"/>
                <a:gd name="T46" fmla="*/ 4924 w 5054"/>
                <a:gd name="T47" fmla="*/ 2773 h 3050"/>
                <a:gd name="T48" fmla="*/ 4858 w 5054"/>
                <a:gd name="T49" fmla="*/ 2849 h 3050"/>
                <a:gd name="T50" fmla="*/ 4784 w 5054"/>
                <a:gd name="T51" fmla="*/ 2915 h 3050"/>
                <a:gd name="T52" fmla="*/ 4701 w 5054"/>
                <a:gd name="T53" fmla="*/ 2967 h 3050"/>
                <a:gd name="T54" fmla="*/ 4612 w 5054"/>
                <a:gd name="T55" fmla="*/ 3008 h 3050"/>
                <a:gd name="T56" fmla="*/ 4518 w 5054"/>
                <a:gd name="T57" fmla="*/ 3035 h 3050"/>
                <a:gd name="T58" fmla="*/ 4420 w 5054"/>
                <a:gd name="T59" fmla="*/ 3049 h 3050"/>
                <a:gd name="T60" fmla="*/ 4322 w 5054"/>
                <a:gd name="T61" fmla="*/ 3048 h 3050"/>
                <a:gd name="T62" fmla="*/ 4222 w 5054"/>
                <a:gd name="T63" fmla="*/ 3034 h 3050"/>
                <a:gd name="T64" fmla="*/ 4125 w 5054"/>
                <a:gd name="T65" fmla="*/ 3003 h 3050"/>
                <a:gd name="T66" fmla="*/ 365 w 5054"/>
                <a:gd name="T67" fmla="*/ 1281 h 3050"/>
                <a:gd name="T68" fmla="*/ 278 w 5054"/>
                <a:gd name="T69" fmla="*/ 1227 h 3050"/>
                <a:gd name="T70" fmla="*/ 202 w 5054"/>
                <a:gd name="T71" fmla="*/ 1162 h 3050"/>
                <a:gd name="T72" fmla="*/ 137 w 5054"/>
                <a:gd name="T73" fmla="*/ 1088 h 3050"/>
                <a:gd name="T74" fmla="*/ 84 w 5054"/>
                <a:gd name="T75" fmla="*/ 1005 h 3050"/>
                <a:gd name="T76" fmla="*/ 44 w 5054"/>
                <a:gd name="T77" fmla="*/ 916 h 3050"/>
                <a:gd name="T78" fmla="*/ 16 w 5054"/>
                <a:gd name="T79" fmla="*/ 821 h 3050"/>
                <a:gd name="T80" fmla="*/ 2 w 5054"/>
                <a:gd name="T81" fmla="*/ 724 h 3050"/>
                <a:gd name="T82" fmla="*/ 2 w 5054"/>
                <a:gd name="T83" fmla="*/ 625 h 3050"/>
                <a:gd name="T84" fmla="*/ 18 w 5054"/>
                <a:gd name="T85" fmla="*/ 525 h 3050"/>
                <a:gd name="T86" fmla="*/ 48 w 5054"/>
                <a:gd name="T87" fmla="*/ 428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54" h="3050">
                  <a:moveTo>
                    <a:pt x="61" y="396"/>
                  </a:moveTo>
                  <a:lnTo>
                    <a:pt x="61" y="396"/>
                  </a:lnTo>
                  <a:lnTo>
                    <a:pt x="77" y="365"/>
                  </a:lnTo>
                  <a:lnTo>
                    <a:pt x="93" y="335"/>
                  </a:lnTo>
                  <a:lnTo>
                    <a:pt x="112" y="306"/>
                  </a:lnTo>
                  <a:lnTo>
                    <a:pt x="131" y="278"/>
                  </a:lnTo>
                  <a:lnTo>
                    <a:pt x="152" y="251"/>
                  </a:lnTo>
                  <a:lnTo>
                    <a:pt x="173" y="226"/>
                  </a:lnTo>
                  <a:lnTo>
                    <a:pt x="196" y="201"/>
                  </a:lnTo>
                  <a:lnTo>
                    <a:pt x="220" y="178"/>
                  </a:lnTo>
                  <a:lnTo>
                    <a:pt x="246" y="156"/>
                  </a:lnTo>
                  <a:lnTo>
                    <a:pt x="272" y="136"/>
                  </a:lnTo>
                  <a:lnTo>
                    <a:pt x="298" y="117"/>
                  </a:lnTo>
                  <a:lnTo>
                    <a:pt x="326" y="99"/>
                  </a:lnTo>
                  <a:lnTo>
                    <a:pt x="354" y="83"/>
                  </a:lnTo>
                  <a:lnTo>
                    <a:pt x="383" y="68"/>
                  </a:lnTo>
                  <a:lnTo>
                    <a:pt x="413" y="55"/>
                  </a:lnTo>
                  <a:lnTo>
                    <a:pt x="443" y="43"/>
                  </a:lnTo>
                  <a:lnTo>
                    <a:pt x="474" y="32"/>
                  </a:lnTo>
                  <a:lnTo>
                    <a:pt x="505" y="23"/>
                  </a:lnTo>
                  <a:lnTo>
                    <a:pt x="537" y="15"/>
                  </a:lnTo>
                  <a:lnTo>
                    <a:pt x="569" y="9"/>
                  </a:lnTo>
                  <a:lnTo>
                    <a:pt x="602" y="4"/>
                  </a:lnTo>
                  <a:lnTo>
                    <a:pt x="634" y="1"/>
                  </a:lnTo>
                  <a:lnTo>
                    <a:pt x="667" y="0"/>
                  </a:lnTo>
                  <a:lnTo>
                    <a:pt x="701" y="0"/>
                  </a:lnTo>
                  <a:lnTo>
                    <a:pt x="734" y="1"/>
                  </a:lnTo>
                  <a:lnTo>
                    <a:pt x="767" y="5"/>
                  </a:lnTo>
                  <a:lnTo>
                    <a:pt x="800" y="10"/>
                  </a:lnTo>
                  <a:lnTo>
                    <a:pt x="832" y="17"/>
                  </a:lnTo>
                  <a:lnTo>
                    <a:pt x="865" y="25"/>
                  </a:lnTo>
                  <a:lnTo>
                    <a:pt x="899" y="35"/>
                  </a:lnTo>
                  <a:lnTo>
                    <a:pt x="931" y="48"/>
                  </a:lnTo>
                  <a:lnTo>
                    <a:pt x="963" y="61"/>
                  </a:lnTo>
                  <a:lnTo>
                    <a:pt x="4658" y="1754"/>
                  </a:lnTo>
                  <a:lnTo>
                    <a:pt x="4690" y="1769"/>
                  </a:lnTo>
                  <a:lnTo>
                    <a:pt x="4720" y="1786"/>
                  </a:lnTo>
                  <a:lnTo>
                    <a:pt x="4749" y="1803"/>
                  </a:lnTo>
                  <a:lnTo>
                    <a:pt x="4777" y="1823"/>
                  </a:lnTo>
                  <a:lnTo>
                    <a:pt x="4804" y="1844"/>
                  </a:lnTo>
                  <a:lnTo>
                    <a:pt x="4828" y="1865"/>
                  </a:lnTo>
                  <a:lnTo>
                    <a:pt x="4853" y="1888"/>
                  </a:lnTo>
                  <a:lnTo>
                    <a:pt x="4876" y="1912"/>
                  </a:lnTo>
                  <a:lnTo>
                    <a:pt x="4898" y="1937"/>
                  </a:lnTo>
                  <a:lnTo>
                    <a:pt x="4919" y="1963"/>
                  </a:lnTo>
                  <a:lnTo>
                    <a:pt x="4937" y="1990"/>
                  </a:lnTo>
                  <a:lnTo>
                    <a:pt x="4955" y="2018"/>
                  </a:lnTo>
                  <a:lnTo>
                    <a:pt x="4971" y="2046"/>
                  </a:lnTo>
                  <a:lnTo>
                    <a:pt x="4986" y="2075"/>
                  </a:lnTo>
                  <a:lnTo>
                    <a:pt x="4999" y="2105"/>
                  </a:lnTo>
                  <a:lnTo>
                    <a:pt x="5012" y="2135"/>
                  </a:lnTo>
                  <a:lnTo>
                    <a:pt x="5022" y="2166"/>
                  </a:lnTo>
                  <a:lnTo>
                    <a:pt x="5031" y="2197"/>
                  </a:lnTo>
                  <a:lnTo>
                    <a:pt x="5039" y="2229"/>
                  </a:lnTo>
                  <a:lnTo>
                    <a:pt x="5045" y="2261"/>
                  </a:lnTo>
                  <a:lnTo>
                    <a:pt x="5050" y="2293"/>
                  </a:lnTo>
                  <a:lnTo>
                    <a:pt x="5053" y="2326"/>
                  </a:lnTo>
                  <a:lnTo>
                    <a:pt x="5054" y="2359"/>
                  </a:lnTo>
                  <a:lnTo>
                    <a:pt x="5054" y="2393"/>
                  </a:lnTo>
                  <a:lnTo>
                    <a:pt x="5053" y="2426"/>
                  </a:lnTo>
                  <a:lnTo>
                    <a:pt x="5049" y="2459"/>
                  </a:lnTo>
                  <a:lnTo>
                    <a:pt x="5044" y="2492"/>
                  </a:lnTo>
                  <a:lnTo>
                    <a:pt x="5038" y="2524"/>
                  </a:lnTo>
                  <a:lnTo>
                    <a:pt x="5029" y="2557"/>
                  </a:lnTo>
                  <a:lnTo>
                    <a:pt x="5019" y="2590"/>
                  </a:lnTo>
                  <a:lnTo>
                    <a:pt x="5007" y="2623"/>
                  </a:lnTo>
                  <a:lnTo>
                    <a:pt x="4993" y="2655"/>
                  </a:lnTo>
                  <a:lnTo>
                    <a:pt x="4993" y="2655"/>
                  </a:lnTo>
                  <a:lnTo>
                    <a:pt x="4978" y="2686"/>
                  </a:lnTo>
                  <a:lnTo>
                    <a:pt x="4961" y="2716"/>
                  </a:lnTo>
                  <a:lnTo>
                    <a:pt x="4943" y="2745"/>
                  </a:lnTo>
                  <a:lnTo>
                    <a:pt x="4924" y="2773"/>
                  </a:lnTo>
                  <a:lnTo>
                    <a:pt x="4903" y="2800"/>
                  </a:lnTo>
                  <a:lnTo>
                    <a:pt x="4881" y="2825"/>
                  </a:lnTo>
                  <a:lnTo>
                    <a:pt x="4858" y="2849"/>
                  </a:lnTo>
                  <a:lnTo>
                    <a:pt x="4835" y="2872"/>
                  </a:lnTo>
                  <a:lnTo>
                    <a:pt x="4810" y="2894"/>
                  </a:lnTo>
                  <a:lnTo>
                    <a:pt x="4784" y="2915"/>
                  </a:lnTo>
                  <a:lnTo>
                    <a:pt x="4757" y="2933"/>
                  </a:lnTo>
                  <a:lnTo>
                    <a:pt x="4730" y="2951"/>
                  </a:lnTo>
                  <a:lnTo>
                    <a:pt x="4701" y="2967"/>
                  </a:lnTo>
                  <a:lnTo>
                    <a:pt x="4672" y="2982"/>
                  </a:lnTo>
                  <a:lnTo>
                    <a:pt x="4642" y="2995"/>
                  </a:lnTo>
                  <a:lnTo>
                    <a:pt x="4612" y="3008"/>
                  </a:lnTo>
                  <a:lnTo>
                    <a:pt x="4581" y="3018"/>
                  </a:lnTo>
                  <a:lnTo>
                    <a:pt x="4550" y="3028"/>
                  </a:lnTo>
                  <a:lnTo>
                    <a:pt x="4518" y="3035"/>
                  </a:lnTo>
                  <a:lnTo>
                    <a:pt x="4485" y="3041"/>
                  </a:lnTo>
                  <a:lnTo>
                    <a:pt x="4453" y="3046"/>
                  </a:lnTo>
                  <a:lnTo>
                    <a:pt x="4420" y="3049"/>
                  </a:lnTo>
                  <a:lnTo>
                    <a:pt x="4388" y="3050"/>
                  </a:lnTo>
                  <a:lnTo>
                    <a:pt x="4355" y="3050"/>
                  </a:lnTo>
                  <a:lnTo>
                    <a:pt x="4322" y="3048"/>
                  </a:lnTo>
                  <a:lnTo>
                    <a:pt x="4289" y="3045"/>
                  </a:lnTo>
                  <a:lnTo>
                    <a:pt x="4255" y="3040"/>
                  </a:lnTo>
                  <a:lnTo>
                    <a:pt x="4222" y="3034"/>
                  </a:lnTo>
                  <a:lnTo>
                    <a:pt x="4189" y="3025"/>
                  </a:lnTo>
                  <a:lnTo>
                    <a:pt x="4157" y="3015"/>
                  </a:lnTo>
                  <a:lnTo>
                    <a:pt x="4125" y="3003"/>
                  </a:lnTo>
                  <a:lnTo>
                    <a:pt x="4093" y="2989"/>
                  </a:lnTo>
                  <a:lnTo>
                    <a:pt x="397" y="1297"/>
                  </a:lnTo>
                  <a:lnTo>
                    <a:pt x="365" y="1281"/>
                  </a:lnTo>
                  <a:lnTo>
                    <a:pt x="335" y="1265"/>
                  </a:lnTo>
                  <a:lnTo>
                    <a:pt x="306" y="1246"/>
                  </a:lnTo>
                  <a:lnTo>
                    <a:pt x="278" y="1227"/>
                  </a:lnTo>
                  <a:lnTo>
                    <a:pt x="252" y="1207"/>
                  </a:lnTo>
                  <a:lnTo>
                    <a:pt x="226" y="1185"/>
                  </a:lnTo>
                  <a:lnTo>
                    <a:pt x="202" y="1162"/>
                  </a:lnTo>
                  <a:lnTo>
                    <a:pt x="179" y="1138"/>
                  </a:lnTo>
                  <a:lnTo>
                    <a:pt x="158" y="1113"/>
                  </a:lnTo>
                  <a:lnTo>
                    <a:pt x="137" y="1088"/>
                  </a:lnTo>
                  <a:lnTo>
                    <a:pt x="118" y="1061"/>
                  </a:lnTo>
                  <a:lnTo>
                    <a:pt x="101" y="1033"/>
                  </a:lnTo>
                  <a:lnTo>
                    <a:pt x="84" y="1005"/>
                  </a:lnTo>
                  <a:lnTo>
                    <a:pt x="69" y="976"/>
                  </a:lnTo>
                  <a:lnTo>
                    <a:pt x="55" y="946"/>
                  </a:lnTo>
                  <a:lnTo>
                    <a:pt x="44" y="916"/>
                  </a:lnTo>
                  <a:lnTo>
                    <a:pt x="32" y="885"/>
                  </a:lnTo>
                  <a:lnTo>
                    <a:pt x="24" y="854"/>
                  </a:lnTo>
                  <a:lnTo>
                    <a:pt x="16" y="821"/>
                  </a:lnTo>
                  <a:lnTo>
                    <a:pt x="10" y="789"/>
                  </a:lnTo>
                  <a:lnTo>
                    <a:pt x="5" y="756"/>
                  </a:lnTo>
                  <a:lnTo>
                    <a:pt x="2" y="724"/>
                  </a:lnTo>
                  <a:lnTo>
                    <a:pt x="0" y="691"/>
                  </a:lnTo>
                  <a:lnTo>
                    <a:pt x="0" y="658"/>
                  </a:lnTo>
                  <a:lnTo>
                    <a:pt x="2" y="625"/>
                  </a:lnTo>
                  <a:lnTo>
                    <a:pt x="5" y="591"/>
                  </a:lnTo>
                  <a:lnTo>
                    <a:pt x="11" y="558"/>
                  </a:lnTo>
                  <a:lnTo>
                    <a:pt x="18" y="525"/>
                  </a:lnTo>
                  <a:lnTo>
                    <a:pt x="26" y="493"/>
                  </a:lnTo>
                  <a:lnTo>
                    <a:pt x="37" y="460"/>
                  </a:lnTo>
                  <a:lnTo>
                    <a:pt x="48" y="428"/>
                  </a:lnTo>
                  <a:lnTo>
                    <a:pt x="61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2800" y="2399"/>
              <a:ext cx="411" cy="878"/>
            </a:xfrm>
            <a:custGeom>
              <a:avLst/>
              <a:gdLst>
                <a:gd name="T0" fmla="*/ 461 w 2466"/>
                <a:gd name="T1" fmla="*/ 5233 h 5268"/>
                <a:gd name="T2" fmla="*/ 367 w 2466"/>
                <a:gd name="T3" fmla="*/ 5193 h 5268"/>
                <a:gd name="T4" fmla="*/ 281 w 2466"/>
                <a:gd name="T5" fmla="*/ 5140 h 5268"/>
                <a:gd name="T6" fmla="*/ 205 w 2466"/>
                <a:gd name="T7" fmla="*/ 5077 h 5268"/>
                <a:gd name="T8" fmla="*/ 140 w 2466"/>
                <a:gd name="T9" fmla="*/ 5002 h 5268"/>
                <a:gd name="T10" fmla="*/ 87 w 2466"/>
                <a:gd name="T11" fmla="*/ 4920 h 5268"/>
                <a:gd name="T12" fmla="*/ 44 w 2466"/>
                <a:gd name="T13" fmla="*/ 4832 h 5268"/>
                <a:gd name="T14" fmla="*/ 16 w 2466"/>
                <a:gd name="T15" fmla="*/ 4738 h 5268"/>
                <a:gd name="T16" fmla="*/ 2 w 2466"/>
                <a:gd name="T17" fmla="*/ 4640 h 5268"/>
                <a:gd name="T18" fmla="*/ 1 w 2466"/>
                <a:gd name="T19" fmla="*/ 4540 h 5268"/>
                <a:gd name="T20" fmla="*/ 16 w 2466"/>
                <a:gd name="T21" fmla="*/ 4439 h 5268"/>
                <a:gd name="T22" fmla="*/ 1143 w 2466"/>
                <a:gd name="T23" fmla="*/ 461 h 5268"/>
                <a:gd name="T24" fmla="*/ 1183 w 2466"/>
                <a:gd name="T25" fmla="*/ 367 h 5268"/>
                <a:gd name="T26" fmla="*/ 1236 w 2466"/>
                <a:gd name="T27" fmla="*/ 281 h 5268"/>
                <a:gd name="T28" fmla="*/ 1300 w 2466"/>
                <a:gd name="T29" fmla="*/ 206 h 5268"/>
                <a:gd name="T30" fmla="*/ 1374 w 2466"/>
                <a:gd name="T31" fmla="*/ 140 h 5268"/>
                <a:gd name="T32" fmla="*/ 1456 w 2466"/>
                <a:gd name="T33" fmla="*/ 86 h 5268"/>
                <a:gd name="T34" fmla="*/ 1545 w 2466"/>
                <a:gd name="T35" fmla="*/ 45 h 5268"/>
                <a:gd name="T36" fmla="*/ 1638 w 2466"/>
                <a:gd name="T37" fmla="*/ 17 h 5268"/>
                <a:gd name="T38" fmla="*/ 1736 w 2466"/>
                <a:gd name="T39" fmla="*/ 2 h 5268"/>
                <a:gd name="T40" fmla="*/ 1837 w 2466"/>
                <a:gd name="T41" fmla="*/ 2 h 5268"/>
                <a:gd name="T42" fmla="*/ 1938 w 2466"/>
                <a:gd name="T43" fmla="*/ 17 h 5268"/>
                <a:gd name="T44" fmla="*/ 2005 w 2466"/>
                <a:gd name="T45" fmla="*/ 36 h 5268"/>
                <a:gd name="T46" fmla="*/ 2099 w 2466"/>
                <a:gd name="T47" fmla="*/ 76 h 5268"/>
                <a:gd name="T48" fmla="*/ 2185 w 2466"/>
                <a:gd name="T49" fmla="*/ 129 h 5268"/>
                <a:gd name="T50" fmla="*/ 2261 w 2466"/>
                <a:gd name="T51" fmla="*/ 193 h 5268"/>
                <a:gd name="T52" fmla="*/ 2326 w 2466"/>
                <a:gd name="T53" fmla="*/ 267 h 5268"/>
                <a:gd name="T54" fmla="*/ 2380 w 2466"/>
                <a:gd name="T55" fmla="*/ 348 h 5268"/>
                <a:gd name="T56" fmla="*/ 2421 w 2466"/>
                <a:gd name="T57" fmla="*/ 437 h 5268"/>
                <a:gd name="T58" fmla="*/ 2449 w 2466"/>
                <a:gd name="T59" fmla="*/ 531 h 5268"/>
                <a:gd name="T60" fmla="*/ 2465 w 2466"/>
                <a:gd name="T61" fmla="*/ 629 h 5268"/>
                <a:gd name="T62" fmla="*/ 2465 w 2466"/>
                <a:gd name="T63" fmla="*/ 730 h 5268"/>
                <a:gd name="T64" fmla="*/ 2449 w 2466"/>
                <a:gd name="T65" fmla="*/ 830 h 5268"/>
                <a:gd name="T66" fmla="*/ 1323 w 2466"/>
                <a:gd name="T67" fmla="*/ 4807 h 5268"/>
                <a:gd name="T68" fmla="*/ 1282 w 2466"/>
                <a:gd name="T69" fmla="*/ 4902 h 5268"/>
                <a:gd name="T70" fmla="*/ 1230 w 2466"/>
                <a:gd name="T71" fmla="*/ 4988 h 5268"/>
                <a:gd name="T72" fmla="*/ 1165 w 2466"/>
                <a:gd name="T73" fmla="*/ 5063 h 5268"/>
                <a:gd name="T74" fmla="*/ 1092 w 2466"/>
                <a:gd name="T75" fmla="*/ 5128 h 5268"/>
                <a:gd name="T76" fmla="*/ 1010 w 2466"/>
                <a:gd name="T77" fmla="*/ 5182 h 5268"/>
                <a:gd name="T78" fmla="*/ 922 w 2466"/>
                <a:gd name="T79" fmla="*/ 5224 h 5268"/>
                <a:gd name="T80" fmla="*/ 828 w 2466"/>
                <a:gd name="T81" fmla="*/ 5252 h 5268"/>
                <a:gd name="T82" fmla="*/ 729 w 2466"/>
                <a:gd name="T83" fmla="*/ 5267 h 5268"/>
                <a:gd name="T84" fmla="*/ 629 w 2466"/>
                <a:gd name="T85" fmla="*/ 5267 h 5268"/>
                <a:gd name="T86" fmla="*/ 528 w 2466"/>
                <a:gd name="T87" fmla="*/ 5252 h 5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66" h="5268">
                  <a:moveTo>
                    <a:pt x="494" y="5243"/>
                  </a:moveTo>
                  <a:lnTo>
                    <a:pt x="494" y="5243"/>
                  </a:lnTo>
                  <a:lnTo>
                    <a:pt x="461" y="5233"/>
                  </a:lnTo>
                  <a:lnTo>
                    <a:pt x="429" y="5221"/>
                  </a:lnTo>
                  <a:lnTo>
                    <a:pt x="397" y="5208"/>
                  </a:lnTo>
                  <a:lnTo>
                    <a:pt x="367" y="5193"/>
                  </a:lnTo>
                  <a:lnTo>
                    <a:pt x="337" y="5176"/>
                  </a:lnTo>
                  <a:lnTo>
                    <a:pt x="309" y="5159"/>
                  </a:lnTo>
                  <a:lnTo>
                    <a:pt x="281" y="5140"/>
                  </a:lnTo>
                  <a:lnTo>
                    <a:pt x="255" y="5120"/>
                  </a:lnTo>
                  <a:lnTo>
                    <a:pt x="230" y="5098"/>
                  </a:lnTo>
                  <a:lnTo>
                    <a:pt x="205" y="5077"/>
                  </a:lnTo>
                  <a:lnTo>
                    <a:pt x="182" y="5053"/>
                  </a:lnTo>
                  <a:lnTo>
                    <a:pt x="160" y="5028"/>
                  </a:lnTo>
                  <a:lnTo>
                    <a:pt x="140" y="5002"/>
                  </a:lnTo>
                  <a:lnTo>
                    <a:pt x="121" y="4976"/>
                  </a:lnTo>
                  <a:lnTo>
                    <a:pt x="103" y="4949"/>
                  </a:lnTo>
                  <a:lnTo>
                    <a:pt x="87" y="4920"/>
                  </a:lnTo>
                  <a:lnTo>
                    <a:pt x="71" y="4892"/>
                  </a:lnTo>
                  <a:lnTo>
                    <a:pt x="57" y="4862"/>
                  </a:lnTo>
                  <a:lnTo>
                    <a:pt x="44" y="4832"/>
                  </a:lnTo>
                  <a:lnTo>
                    <a:pt x="34" y="4801"/>
                  </a:lnTo>
                  <a:lnTo>
                    <a:pt x="25" y="4770"/>
                  </a:lnTo>
                  <a:lnTo>
                    <a:pt x="16" y="4738"/>
                  </a:lnTo>
                  <a:lnTo>
                    <a:pt x="10" y="4706"/>
                  </a:lnTo>
                  <a:lnTo>
                    <a:pt x="5" y="4673"/>
                  </a:lnTo>
                  <a:lnTo>
                    <a:pt x="2" y="4640"/>
                  </a:lnTo>
                  <a:lnTo>
                    <a:pt x="0" y="4606"/>
                  </a:lnTo>
                  <a:lnTo>
                    <a:pt x="0" y="4573"/>
                  </a:lnTo>
                  <a:lnTo>
                    <a:pt x="1" y="4540"/>
                  </a:lnTo>
                  <a:lnTo>
                    <a:pt x="5" y="4506"/>
                  </a:lnTo>
                  <a:lnTo>
                    <a:pt x="9" y="4472"/>
                  </a:lnTo>
                  <a:lnTo>
                    <a:pt x="16" y="4439"/>
                  </a:lnTo>
                  <a:lnTo>
                    <a:pt x="25" y="4404"/>
                  </a:lnTo>
                  <a:lnTo>
                    <a:pt x="1132" y="495"/>
                  </a:lnTo>
                  <a:lnTo>
                    <a:pt x="1143" y="461"/>
                  </a:lnTo>
                  <a:lnTo>
                    <a:pt x="1155" y="428"/>
                  </a:lnTo>
                  <a:lnTo>
                    <a:pt x="1169" y="397"/>
                  </a:lnTo>
                  <a:lnTo>
                    <a:pt x="1183" y="367"/>
                  </a:lnTo>
                  <a:lnTo>
                    <a:pt x="1200" y="337"/>
                  </a:lnTo>
                  <a:lnTo>
                    <a:pt x="1217" y="309"/>
                  </a:lnTo>
                  <a:lnTo>
                    <a:pt x="1236" y="281"/>
                  </a:lnTo>
                  <a:lnTo>
                    <a:pt x="1256" y="255"/>
                  </a:lnTo>
                  <a:lnTo>
                    <a:pt x="1277" y="230"/>
                  </a:lnTo>
                  <a:lnTo>
                    <a:pt x="1300" y="206"/>
                  </a:lnTo>
                  <a:lnTo>
                    <a:pt x="1323" y="183"/>
                  </a:lnTo>
                  <a:lnTo>
                    <a:pt x="1348" y="161"/>
                  </a:lnTo>
                  <a:lnTo>
                    <a:pt x="1374" y="140"/>
                  </a:lnTo>
                  <a:lnTo>
                    <a:pt x="1400" y="122"/>
                  </a:lnTo>
                  <a:lnTo>
                    <a:pt x="1428" y="104"/>
                  </a:lnTo>
                  <a:lnTo>
                    <a:pt x="1456" y="86"/>
                  </a:lnTo>
                  <a:lnTo>
                    <a:pt x="1485" y="72"/>
                  </a:lnTo>
                  <a:lnTo>
                    <a:pt x="1514" y="57"/>
                  </a:lnTo>
                  <a:lnTo>
                    <a:pt x="1545" y="45"/>
                  </a:lnTo>
                  <a:lnTo>
                    <a:pt x="1575" y="35"/>
                  </a:lnTo>
                  <a:lnTo>
                    <a:pt x="1607" y="24"/>
                  </a:lnTo>
                  <a:lnTo>
                    <a:pt x="1638" y="17"/>
                  </a:lnTo>
                  <a:lnTo>
                    <a:pt x="1670" y="10"/>
                  </a:lnTo>
                  <a:lnTo>
                    <a:pt x="1703" y="6"/>
                  </a:lnTo>
                  <a:lnTo>
                    <a:pt x="1736" y="2"/>
                  </a:lnTo>
                  <a:lnTo>
                    <a:pt x="1769" y="0"/>
                  </a:lnTo>
                  <a:lnTo>
                    <a:pt x="1803" y="0"/>
                  </a:lnTo>
                  <a:lnTo>
                    <a:pt x="1837" y="2"/>
                  </a:lnTo>
                  <a:lnTo>
                    <a:pt x="1870" y="5"/>
                  </a:lnTo>
                  <a:lnTo>
                    <a:pt x="1904" y="10"/>
                  </a:lnTo>
                  <a:lnTo>
                    <a:pt x="1938" y="17"/>
                  </a:lnTo>
                  <a:lnTo>
                    <a:pt x="1971" y="25"/>
                  </a:lnTo>
                  <a:lnTo>
                    <a:pt x="1971" y="25"/>
                  </a:lnTo>
                  <a:lnTo>
                    <a:pt x="2005" y="36"/>
                  </a:lnTo>
                  <a:lnTo>
                    <a:pt x="2038" y="48"/>
                  </a:lnTo>
                  <a:lnTo>
                    <a:pt x="2069" y="62"/>
                  </a:lnTo>
                  <a:lnTo>
                    <a:pt x="2099" y="76"/>
                  </a:lnTo>
                  <a:lnTo>
                    <a:pt x="2129" y="93"/>
                  </a:lnTo>
                  <a:lnTo>
                    <a:pt x="2157" y="110"/>
                  </a:lnTo>
                  <a:lnTo>
                    <a:pt x="2185" y="129"/>
                  </a:lnTo>
                  <a:lnTo>
                    <a:pt x="2211" y="149"/>
                  </a:lnTo>
                  <a:lnTo>
                    <a:pt x="2237" y="170"/>
                  </a:lnTo>
                  <a:lnTo>
                    <a:pt x="2261" y="193"/>
                  </a:lnTo>
                  <a:lnTo>
                    <a:pt x="2283" y="216"/>
                  </a:lnTo>
                  <a:lnTo>
                    <a:pt x="2305" y="241"/>
                  </a:lnTo>
                  <a:lnTo>
                    <a:pt x="2326" y="267"/>
                  </a:lnTo>
                  <a:lnTo>
                    <a:pt x="2344" y="293"/>
                  </a:lnTo>
                  <a:lnTo>
                    <a:pt x="2363" y="321"/>
                  </a:lnTo>
                  <a:lnTo>
                    <a:pt x="2380" y="348"/>
                  </a:lnTo>
                  <a:lnTo>
                    <a:pt x="2394" y="377"/>
                  </a:lnTo>
                  <a:lnTo>
                    <a:pt x="2409" y="406"/>
                  </a:lnTo>
                  <a:lnTo>
                    <a:pt x="2421" y="437"/>
                  </a:lnTo>
                  <a:lnTo>
                    <a:pt x="2431" y="468"/>
                  </a:lnTo>
                  <a:lnTo>
                    <a:pt x="2442" y="499"/>
                  </a:lnTo>
                  <a:lnTo>
                    <a:pt x="2449" y="531"/>
                  </a:lnTo>
                  <a:lnTo>
                    <a:pt x="2456" y="563"/>
                  </a:lnTo>
                  <a:lnTo>
                    <a:pt x="2461" y="596"/>
                  </a:lnTo>
                  <a:lnTo>
                    <a:pt x="2465" y="629"/>
                  </a:lnTo>
                  <a:lnTo>
                    <a:pt x="2466" y="662"/>
                  </a:lnTo>
                  <a:lnTo>
                    <a:pt x="2466" y="695"/>
                  </a:lnTo>
                  <a:lnTo>
                    <a:pt x="2465" y="730"/>
                  </a:lnTo>
                  <a:lnTo>
                    <a:pt x="2462" y="763"/>
                  </a:lnTo>
                  <a:lnTo>
                    <a:pt x="2456" y="797"/>
                  </a:lnTo>
                  <a:lnTo>
                    <a:pt x="2449" y="830"/>
                  </a:lnTo>
                  <a:lnTo>
                    <a:pt x="2441" y="864"/>
                  </a:lnTo>
                  <a:lnTo>
                    <a:pt x="1333" y="4774"/>
                  </a:lnTo>
                  <a:lnTo>
                    <a:pt x="1323" y="4807"/>
                  </a:lnTo>
                  <a:lnTo>
                    <a:pt x="1310" y="4841"/>
                  </a:lnTo>
                  <a:lnTo>
                    <a:pt x="1297" y="4872"/>
                  </a:lnTo>
                  <a:lnTo>
                    <a:pt x="1282" y="4902"/>
                  </a:lnTo>
                  <a:lnTo>
                    <a:pt x="1266" y="4932"/>
                  </a:lnTo>
                  <a:lnTo>
                    <a:pt x="1248" y="4960"/>
                  </a:lnTo>
                  <a:lnTo>
                    <a:pt x="1230" y="4988"/>
                  </a:lnTo>
                  <a:lnTo>
                    <a:pt x="1210" y="5014"/>
                  </a:lnTo>
                  <a:lnTo>
                    <a:pt x="1188" y="5039"/>
                  </a:lnTo>
                  <a:lnTo>
                    <a:pt x="1165" y="5063"/>
                  </a:lnTo>
                  <a:lnTo>
                    <a:pt x="1143" y="5086"/>
                  </a:lnTo>
                  <a:lnTo>
                    <a:pt x="1118" y="5108"/>
                  </a:lnTo>
                  <a:lnTo>
                    <a:pt x="1092" y="5128"/>
                  </a:lnTo>
                  <a:lnTo>
                    <a:pt x="1066" y="5147"/>
                  </a:lnTo>
                  <a:lnTo>
                    <a:pt x="1038" y="5166"/>
                  </a:lnTo>
                  <a:lnTo>
                    <a:pt x="1010" y="5182"/>
                  </a:lnTo>
                  <a:lnTo>
                    <a:pt x="981" y="5197"/>
                  </a:lnTo>
                  <a:lnTo>
                    <a:pt x="952" y="5211"/>
                  </a:lnTo>
                  <a:lnTo>
                    <a:pt x="922" y="5224"/>
                  </a:lnTo>
                  <a:lnTo>
                    <a:pt x="891" y="5234"/>
                  </a:lnTo>
                  <a:lnTo>
                    <a:pt x="860" y="5244"/>
                  </a:lnTo>
                  <a:lnTo>
                    <a:pt x="828" y="5252"/>
                  </a:lnTo>
                  <a:lnTo>
                    <a:pt x="796" y="5259"/>
                  </a:lnTo>
                  <a:lnTo>
                    <a:pt x="762" y="5263"/>
                  </a:lnTo>
                  <a:lnTo>
                    <a:pt x="729" y="5267"/>
                  </a:lnTo>
                  <a:lnTo>
                    <a:pt x="696" y="5268"/>
                  </a:lnTo>
                  <a:lnTo>
                    <a:pt x="663" y="5268"/>
                  </a:lnTo>
                  <a:lnTo>
                    <a:pt x="629" y="5267"/>
                  </a:lnTo>
                  <a:lnTo>
                    <a:pt x="596" y="5264"/>
                  </a:lnTo>
                  <a:lnTo>
                    <a:pt x="561" y="5259"/>
                  </a:lnTo>
                  <a:lnTo>
                    <a:pt x="528" y="5252"/>
                  </a:lnTo>
                  <a:lnTo>
                    <a:pt x="494" y="5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1995" y="1298"/>
              <a:ext cx="508" cy="430"/>
            </a:xfrm>
            <a:custGeom>
              <a:avLst/>
              <a:gdLst>
                <a:gd name="T0" fmla="*/ 2961 w 3047"/>
                <a:gd name="T1" fmla="*/ 207 h 2581"/>
                <a:gd name="T2" fmla="*/ 2997 w 3047"/>
                <a:gd name="T3" fmla="*/ 270 h 2581"/>
                <a:gd name="T4" fmla="*/ 3024 w 3047"/>
                <a:gd name="T5" fmla="*/ 337 h 2581"/>
                <a:gd name="T6" fmla="*/ 3041 w 3047"/>
                <a:gd name="T7" fmla="*/ 406 h 2581"/>
                <a:gd name="T8" fmla="*/ 3047 w 3047"/>
                <a:gd name="T9" fmla="*/ 476 h 2581"/>
                <a:gd name="T10" fmla="*/ 3043 w 3047"/>
                <a:gd name="T11" fmla="*/ 545 h 2581"/>
                <a:gd name="T12" fmla="*/ 3029 w 3047"/>
                <a:gd name="T13" fmla="*/ 614 h 2581"/>
                <a:gd name="T14" fmla="*/ 3006 w 3047"/>
                <a:gd name="T15" fmla="*/ 680 h 2581"/>
                <a:gd name="T16" fmla="*/ 2973 w 3047"/>
                <a:gd name="T17" fmla="*/ 743 h 2581"/>
                <a:gd name="T18" fmla="*/ 2931 w 3047"/>
                <a:gd name="T19" fmla="*/ 801 h 2581"/>
                <a:gd name="T20" fmla="*/ 2879 w 3047"/>
                <a:gd name="T21" fmla="*/ 853 h 2581"/>
                <a:gd name="T22" fmla="*/ 763 w 3047"/>
                <a:gd name="T23" fmla="*/ 2494 h 2581"/>
                <a:gd name="T24" fmla="*/ 700 w 3047"/>
                <a:gd name="T25" fmla="*/ 2531 h 2581"/>
                <a:gd name="T26" fmla="*/ 634 w 3047"/>
                <a:gd name="T27" fmla="*/ 2558 h 2581"/>
                <a:gd name="T28" fmla="*/ 564 w 3047"/>
                <a:gd name="T29" fmla="*/ 2574 h 2581"/>
                <a:gd name="T30" fmla="*/ 494 w 3047"/>
                <a:gd name="T31" fmla="*/ 2581 h 2581"/>
                <a:gd name="T32" fmla="*/ 424 w 3047"/>
                <a:gd name="T33" fmla="*/ 2577 h 2581"/>
                <a:gd name="T34" fmla="*/ 356 w 3047"/>
                <a:gd name="T35" fmla="*/ 2563 h 2581"/>
                <a:gd name="T36" fmla="*/ 290 w 3047"/>
                <a:gd name="T37" fmla="*/ 2539 h 2581"/>
                <a:gd name="T38" fmla="*/ 227 w 3047"/>
                <a:gd name="T39" fmla="*/ 2506 h 2581"/>
                <a:gd name="T40" fmla="*/ 169 w 3047"/>
                <a:gd name="T41" fmla="*/ 2464 h 2581"/>
                <a:gd name="T42" fmla="*/ 117 w 3047"/>
                <a:gd name="T43" fmla="*/ 2412 h 2581"/>
                <a:gd name="T44" fmla="*/ 87 w 3047"/>
                <a:gd name="T45" fmla="*/ 2372 h 2581"/>
                <a:gd name="T46" fmla="*/ 49 w 3047"/>
                <a:gd name="T47" fmla="*/ 2309 h 2581"/>
                <a:gd name="T48" fmla="*/ 23 w 3047"/>
                <a:gd name="T49" fmla="*/ 2243 h 2581"/>
                <a:gd name="T50" fmla="*/ 6 w 3047"/>
                <a:gd name="T51" fmla="*/ 2175 h 2581"/>
                <a:gd name="T52" fmla="*/ 0 w 3047"/>
                <a:gd name="T53" fmla="*/ 2104 h 2581"/>
                <a:gd name="T54" fmla="*/ 4 w 3047"/>
                <a:gd name="T55" fmla="*/ 2034 h 2581"/>
                <a:gd name="T56" fmla="*/ 17 w 3047"/>
                <a:gd name="T57" fmla="*/ 1965 h 2581"/>
                <a:gd name="T58" fmla="*/ 41 w 3047"/>
                <a:gd name="T59" fmla="*/ 1899 h 2581"/>
                <a:gd name="T60" fmla="*/ 74 w 3047"/>
                <a:gd name="T61" fmla="*/ 1837 h 2581"/>
                <a:gd name="T62" fmla="*/ 117 w 3047"/>
                <a:gd name="T63" fmla="*/ 1779 h 2581"/>
                <a:gd name="T64" fmla="*/ 169 w 3047"/>
                <a:gd name="T65" fmla="*/ 1727 h 2581"/>
                <a:gd name="T66" fmla="*/ 2284 w 3047"/>
                <a:gd name="T67" fmla="*/ 87 h 2581"/>
                <a:gd name="T68" fmla="*/ 2347 w 3047"/>
                <a:gd name="T69" fmla="*/ 49 h 2581"/>
                <a:gd name="T70" fmla="*/ 2414 w 3047"/>
                <a:gd name="T71" fmla="*/ 22 h 2581"/>
                <a:gd name="T72" fmla="*/ 2482 w 3047"/>
                <a:gd name="T73" fmla="*/ 6 h 2581"/>
                <a:gd name="T74" fmla="*/ 2553 w 3047"/>
                <a:gd name="T75" fmla="*/ 0 h 2581"/>
                <a:gd name="T76" fmla="*/ 2622 w 3047"/>
                <a:gd name="T77" fmla="*/ 4 h 2581"/>
                <a:gd name="T78" fmla="*/ 2691 w 3047"/>
                <a:gd name="T79" fmla="*/ 17 h 2581"/>
                <a:gd name="T80" fmla="*/ 2758 w 3047"/>
                <a:gd name="T81" fmla="*/ 41 h 2581"/>
                <a:gd name="T82" fmla="*/ 2820 w 3047"/>
                <a:gd name="T83" fmla="*/ 73 h 2581"/>
                <a:gd name="T84" fmla="*/ 2878 w 3047"/>
                <a:gd name="T85" fmla="*/ 116 h 2581"/>
                <a:gd name="T86" fmla="*/ 2930 w 3047"/>
                <a:gd name="T87" fmla="*/ 167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47" h="2581">
                  <a:moveTo>
                    <a:pt x="2945" y="187"/>
                  </a:moveTo>
                  <a:lnTo>
                    <a:pt x="2945" y="187"/>
                  </a:lnTo>
                  <a:lnTo>
                    <a:pt x="2961" y="207"/>
                  </a:lnTo>
                  <a:lnTo>
                    <a:pt x="2974" y="227"/>
                  </a:lnTo>
                  <a:lnTo>
                    <a:pt x="2987" y="249"/>
                  </a:lnTo>
                  <a:lnTo>
                    <a:pt x="2997" y="270"/>
                  </a:lnTo>
                  <a:lnTo>
                    <a:pt x="3007" y="292"/>
                  </a:lnTo>
                  <a:lnTo>
                    <a:pt x="3017" y="314"/>
                  </a:lnTo>
                  <a:lnTo>
                    <a:pt x="3024" y="337"/>
                  </a:lnTo>
                  <a:lnTo>
                    <a:pt x="3031" y="360"/>
                  </a:lnTo>
                  <a:lnTo>
                    <a:pt x="3036" y="383"/>
                  </a:lnTo>
                  <a:lnTo>
                    <a:pt x="3041" y="406"/>
                  </a:lnTo>
                  <a:lnTo>
                    <a:pt x="3044" y="429"/>
                  </a:lnTo>
                  <a:lnTo>
                    <a:pt x="3046" y="452"/>
                  </a:lnTo>
                  <a:lnTo>
                    <a:pt x="3047" y="476"/>
                  </a:lnTo>
                  <a:lnTo>
                    <a:pt x="3047" y="499"/>
                  </a:lnTo>
                  <a:lnTo>
                    <a:pt x="3046" y="523"/>
                  </a:lnTo>
                  <a:lnTo>
                    <a:pt x="3043" y="545"/>
                  </a:lnTo>
                  <a:lnTo>
                    <a:pt x="3040" y="568"/>
                  </a:lnTo>
                  <a:lnTo>
                    <a:pt x="3035" y="592"/>
                  </a:lnTo>
                  <a:lnTo>
                    <a:pt x="3029" y="614"/>
                  </a:lnTo>
                  <a:lnTo>
                    <a:pt x="3023" y="637"/>
                  </a:lnTo>
                  <a:lnTo>
                    <a:pt x="3015" y="658"/>
                  </a:lnTo>
                  <a:lnTo>
                    <a:pt x="3006" y="680"/>
                  </a:lnTo>
                  <a:lnTo>
                    <a:pt x="2996" y="702"/>
                  </a:lnTo>
                  <a:lnTo>
                    <a:pt x="2985" y="723"/>
                  </a:lnTo>
                  <a:lnTo>
                    <a:pt x="2973" y="743"/>
                  </a:lnTo>
                  <a:lnTo>
                    <a:pt x="2960" y="763"/>
                  </a:lnTo>
                  <a:lnTo>
                    <a:pt x="2945" y="783"/>
                  </a:lnTo>
                  <a:lnTo>
                    <a:pt x="2931" y="801"/>
                  </a:lnTo>
                  <a:lnTo>
                    <a:pt x="2914" y="819"/>
                  </a:lnTo>
                  <a:lnTo>
                    <a:pt x="2897" y="836"/>
                  </a:lnTo>
                  <a:lnTo>
                    <a:pt x="2879" y="853"/>
                  </a:lnTo>
                  <a:lnTo>
                    <a:pt x="2859" y="869"/>
                  </a:lnTo>
                  <a:lnTo>
                    <a:pt x="783" y="2479"/>
                  </a:lnTo>
                  <a:lnTo>
                    <a:pt x="763" y="2494"/>
                  </a:lnTo>
                  <a:lnTo>
                    <a:pt x="743" y="2507"/>
                  </a:lnTo>
                  <a:lnTo>
                    <a:pt x="722" y="2520"/>
                  </a:lnTo>
                  <a:lnTo>
                    <a:pt x="700" y="2531"/>
                  </a:lnTo>
                  <a:lnTo>
                    <a:pt x="678" y="2541"/>
                  </a:lnTo>
                  <a:lnTo>
                    <a:pt x="656" y="2550"/>
                  </a:lnTo>
                  <a:lnTo>
                    <a:pt x="634" y="2558"/>
                  </a:lnTo>
                  <a:lnTo>
                    <a:pt x="611" y="2564"/>
                  </a:lnTo>
                  <a:lnTo>
                    <a:pt x="587" y="2569"/>
                  </a:lnTo>
                  <a:lnTo>
                    <a:pt x="564" y="2574"/>
                  </a:lnTo>
                  <a:lnTo>
                    <a:pt x="542" y="2578"/>
                  </a:lnTo>
                  <a:lnTo>
                    <a:pt x="518" y="2580"/>
                  </a:lnTo>
                  <a:lnTo>
                    <a:pt x="494" y="2581"/>
                  </a:lnTo>
                  <a:lnTo>
                    <a:pt x="471" y="2580"/>
                  </a:lnTo>
                  <a:lnTo>
                    <a:pt x="447" y="2579"/>
                  </a:lnTo>
                  <a:lnTo>
                    <a:pt x="424" y="2577"/>
                  </a:lnTo>
                  <a:lnTo>
                    <a:pt x="402" y="2573"/>
                  </a:lnTo>
                  <a:lnTo>
                    <a:pt x="379" y="2568"/>
                  </a:lnTo>
                  <a:lnTo>
                    <a:pt x="356" y="2563"/>
                  </a:lnTo>
                  <a:lnTo>
                    <a:pt x="333" y="2556"/>
                  </a:lnTo>
                  <a:lnTo>
                    <a:pt x="312" y="2549"/>
                  </a:lnTo>
                  <a:lnTo>
                    <a:pt x="290" y="2539"/>
                  </a:lnTo>
                  <a:lnTo>
                    <a:pt x="268" y="2529"/>
                  </a:lnTo>
                  <a:lnTo>
                    <a:pt x="247" y="2519"/>
                  </a:lnTo>
                  <a:lnTo>
                    <a:pt x="227" y="2506"/>
                  </a:lnTo>
                  <a:lnTo>
                    <a:pt x="207" y="2494"/>
                  </a:lnTo>
                  <a:lnTo>
                    <a:pt x="187" y="2479"/>
                  </a:lnTo>
                  <a:lnTo>
                    <a:pt x="169" y="2464"/>
                  </a:lnTo>
                  <a:lnTo>
                    <a:pt x="151" y="2448"/>
                  </a:lnTo>
                  <a:lnTo>
                    <a:pt x="133" y="2430"/>
                  </a:lnTo>
                  <a:lnTo>
                    <a:pt x="117" y="2412"/>
                  </a:lnTo>
                  <a:lnTo>
                    <a:pt x="101" y="2393"/>
                  </a:lnTo>
                  <a:lnTo>
                    <a:pt x="101" y="2393"/>
                  </a:lnTo>
                  <a:lnTo>
                    <a:pt x="87" y="2372"/>
                  </a:lnTo>
                  <a:lnTo>
                    <a:pt x="73" y="2352"/>
                  </a:lnTo>
                  <a:lnTo>
                    <a:pt x="61" y="2331"/>
                  </a:lnTo>
                  <a:lnTo>
                    <a:pt x="49" y="2309"/>
                  </a:lnTo>
                  <a:lnTo>
                    <a:pt x="39" y="2288"/>
                  </a:lnTo>
                  <a:lnTo>
                    <a:pt x="31" y="2266"/>
                  </a:lnTo>
                  <a:lnTo>
                    <a:pt x="23" y="2243"/>
                  </a:lnTo>
                  <a:lnTo>
                    <a:pt x="16" y="2220"/>
                  </a:lnTo>
                  <a:lnTo>
                    <a:pt x="10" y="2197"/>
                  </a:lnTo>
                  <a:lnTo>
                    <a:pt x="6" y="2175"/>
                  </a:lnTo>
                  <a:lnTo>
                    <a:pt x="3" y="2151"/>
                  </a:lnTo>
                  <a:lnTo>
                    <a:pt x="1" y="2128"/>
                  </a:lnTo>
                  <a:lnTo>
                    <a:pt x="0" y="2104"/>
                  </a:lnTo>
                  <a:lnTo>
                    <a:pt x="0" y="2080"/>
                  </a:lnTo>
                  <a:lnTo>
                    <a:pt x="2" y="2058"/>
                  </a:lnTo>
                  <a:lnTo>
                    <a:pt x="4" y="2034"/>
                  </a:lnTo>
                  <a:lnTo>
                    <a:pt x="7" y="2011"/>
                  </a:lnTo>
                  <a:lnTo>
                    <a:pt x="12" y="1988"/>
                  </a:lnTo>
                  <a:lnTo>
                    <a:pt x="17" y="1965"/>
                  </a:lnTo>
                  <a:lnTo>
                    <a:pt x="25" y="1943"/>
                  </a:lnTo>
                  <a:lnTo>
                    <a:pt x="32" y="1921"/>
                  </a:lnTo>
                  <a:lnTo>
                    <a:pt x="41" y="1899"/>
                  </a:lnTo>
                  <a:lnTo>
                    <a:pt x="50" y="1878"/>
                  </a:lnTo>
                  <a:lnTo>
                    <a:pt x="62" y="1857"/>
                  </a:lnTo>
                  <a:lnTo>
                    <a:pt x="74" y="1837"/>
                  </a:lnTo>
                  <a:lnTo>
                    <a:pt x="87" y="1817"/>
                  </a:lnTo>
                  <a:lnTo>
                    <a:pt x="101" y="1798"/>
                  </a:lnTo>
                  <a:lnTo>
                    <a:pt x="117" y="1779"/>
                  </a:lnTo>
                  <a:lnTo>
                    <a:pt x="132" y="1760"/>
                  </a:lnTo>
                  <a:lnTo>
                    <a:pt x="150" y="1744"/>
                  </a:lnTo>
                  <a:lnTo>
                    <a:pt x="169" y="1727"/>
                  </a:lnTo>
                  <a:lnTo>
                    <a:pt x="187" y="1712"/>
                  </a:lnTo>
                  <a:lnTo>
                    <a:pt x="2264" y="101"/>
                  </a:lnTo>
                  <a:lnTo>
                    <a:pt x="2284" y="87"/>
                  </a:lnTo>
                  <a:lnTo>
                    <a:pt x="2304" y="72"/>
                  </a:lnTo>
                  <a:lnTo>
                    <a:pt x="2326" y="61"/>
                  </a:lnTo>
                  <a:lnTo>
                    <a:pt x="2347" y="49"/>
                  </a:lnTo>
                  <a:lnTo>
                    <a:pt x="2369" y="39"/>
                  </a:lnTo>
                  <a:lnTo>
                    <a:pt x="2391" y="30"/>
                  </a:lnTo>
                  <a:lnTo>
                    <a:pt x="2414" y="22"/>
                  </a:lnTo>
                  <a:lnTo>
                    <a:pt x="2437" y="15"/>
                  </a:lnTo>
                  <a:lnTo>
                    <a:pt x="2459" y="10"/>
                  </a:lnTo>
                  <a:lnTo>
                    <a:pt x="2482" y="6"/>
                  </a:lnTo>
                  <a:lnTo>
                    <a:pt x="2506" y="3"/>
                  </a:lnTo>
                  <a:lnTo>
                    <a:pt x="2529" y="1"/>
                  </a:lnTo>
                  <a:lnTo>
                    <a:pt x="2553" y="0"/>
                  </a:lnTo>
                  <a:lnTo>
                    <a:pt x="2575" y="0"/>
                  </a:lnTo>
                  <a:lnTo>
                    <a:pt x="2599" y="1"/>
                  </a:lnTo>
                  <a:lnTo>
                    <a:pt x="2622" y="4"/>
                  </a:lnTo>
                  <a:lnTo>
                    <a:pt x="2646" y="7"/>
                  </a:lnTo>
                  <a:lnTo>
                    <a:pt x="2669" y="11"/>
                  </a:lnTo>
                  <a:lnTo>
                    <a:pt x="2691" y="17"/>
                  </a:lnTo>
                  <a:lnTo>
                    <a:pt x="2713" y="23"/>
                  </a:lnTo>
                  <a:lnTo>
                    <a:pt x="2736" y="32"/>
                  </a:lnTo>
                  <a:lnTo>
                    <a:pt x="2758" y="41"/>
                  </a:lnTo>
                  <a:lnTo>
                    <a:pt x="2778" y="50"/>
                  </a:lnTo>
                  <a:lnTo>
                    <a:pt x="2799" y="62"/>
                  </a:lnTo>
                  <a:lnTo>
                    <a:pt x="2820" y="73"/>
                  </a:lnTo>
                  <a:lnTo>
                    <a:pt x="2840" y="87"/>
                  </a:lnTo>
                  <a:lnTo>
                    <a:pt x="2859" y="101"/>
                  </a:lnTo>
                  <a:lnTo>
                    <a:pt x="2878" y="116"/>
                  </a:lnTo>
                  <a:lnTo>
                    <a:pt x="2896" y="132"/>
                  </a:lnTo>
                  <a:lnTo>
                    <a:pt x="2913" y="150"/>
                  </a:lnTo>
                  <a:lnTo>
                    <a:pt x="2930" y="167"/>
                  </a:lnTo>
                  <a:lnTo>
                    <a:pt x="2945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7"/>
            <p:cNvSpPr>
              <a:spLocks/>
            </p:cNvSpPr>
            <p:nvPr/>
          </p:nvSpPr>
          <p:spPr bwMode="auto">
            <a:xfrm>
              <a:off x="1979" y="1570"/>
              <a:ext cx="282" cy="583"/>
            </a:xfrm>
            <a:custGeom>
              <a:avLst/>
              <a:gdLst>
                <a:gd name="T0" fmla="*/ 1318 w 1694"/>
                <a:gd name="T1" fmla="*/ 3484 h 3497"/>
                <a:gd name="T2" fmla="*/ 1246 w 1694"/>
                <a:gd name="T3" fmla="*/ 3496 h 3497"/>
                <a:gd name="T4" fmla="*/ 1174 w 1694"/>
                <a:gd name="T5" fmla="*/ 3496 h 3497"/>
                <a:gd name="T6" fmla="*/ 1105 w 1694"/>
                <a:gd name="T7" fmla="*/ 3485 h 3497"/>
                <a:gd name="T8" fmla="*/ 1037 w 1694"/>
                <a:gd name="T9" fmla="*/ 3464 h 3497"/>
                <a:gd name="T10" fmla="*/ 973 w 1694"/>
                <a:gd name="T11" fmla="*/ 3435 h 3497"/>
                <a:gd name="T12" fmla="*/ 915 w 1694"/>
                <a:gd name="T13" fmla="*/ 3397 h 3497"/>
                <a:gd name="T14" fmla="*/ 862 w 1694"/>
                <a:gd name="T15" fmla="*/ 3351 h 3497"/>
                <a:gd name="T16" fmla="*/ 816 w 1694"/>
                <a:gd name="T17" fmla="*/ 3297 h 3497"/>
                <a:gd name="T18" fmla="*/ 778 w 1694"/>
                <a:gd name="T19" fmla="*/ 3236 h 3497"/>
                <a:gd name="T20" fmla="*/ 749 w 1694"/>
                <a:gd name="T21" fmla="*/ 3168 h 3497"/>
                <a:gd name="T22" fmla="*/ 13 w 1694"/>
                <a:gd name="T23" fmla="*/ 594 h 3497"/>
                <a:gd name="T24" fmla="*/ 1 w 1694"/>
                <a:gd name="T25" fmla="*/ 522 h 3497"/>
                <a:gd name="T26" fmla="*/ 1 w 1694"/>
                <a:gd name="T27" fmla="*/ 450 h 3497"/>
                <a:gd name="T28" fmla="*/ 12 w 1694"/>
                <a:gd name="T29" fmla="*/ 380 h 3497"/>
                <a:gd name="T30" fmla="*/ 32 w 1694"/>
                <a:gd name="T31" fmla="*/ 313 h 3497"/>
                <a:gd name="T32" fmla="*/ 61 w 1694"/>
                <a:gd name="T33" fmla="*/ 249 h 3497"/>
                <a:gd name="T34" fmla="*/ 100 w 1694"/>
                <a:gd name="T35" fmla="*/ 191 h 3497"/>
                <a:gd name="T36" fmla="*/ 146 w 1694"/>
                <a:gd name="T37" fmla="*/ 139 h 3497"/>
                <a:gd name="T38" fmla="*/ 200 w 1694"/>
                <a:gd name="T39" fmla="*/ 92 h 3497"/>
                <a:gd name="T40" fmla="*/ 261 w 1694"/>
                <a:gd name="T41" fmla="*/ 55 h 3497"/>
                <a:gd name="T42" fmla="*/ 329 w 1694"/>
                <a:gd name="T43" fmla="*/ 26 h 3497"/>
                <a:gd name="T44" fmla="*/ 376 w 1694"/>
                <a:gd name="T45" fmla="*/ 12 h 3497"/>
                <a:gd name="T46" fmla="*/ 449 w 1694"/>
                <a:gd name="T47" fmla="*/ 1 h 3497"/>
                <a:gd name="T48" fmla="*/ 520 w 1694"/>
                <a:gd name="T49" fmla="*/ 1 h 3497"/>
                <a:gd name="T50" fmla="*/ 591 w 1694"/>
                <a:gd name="T51" fmla="*/ 11 h 3497"/>
                <a:gd name="T52" fmla="*/ 658 w 1694"/>
                <a:gd name="T53" fmla="*/ 31 h 3497"/>
                <a:gd name="T54" fmla="*/ 721 w 1694"/>
                <a:gd name="T55" fmla="*/ 61 h 3497"/>
                <a:gd name="T56" fmla="*/ 780 w 1694"/>
                <a:gd name="T57" fmla="*/ 99 h 3497"/>
                <a:gd name="T58" fmla="*/ 833 w 1694"/>
                <a:gd name="T59" fmla="*/ 146 h 3497"/>
                <a:gd name="T60" fmla="*/ 879 w 1694"/>
                <a:gd name="T61" fmla="*/ 200 h 3497"/>
                <a:gd name="T62" fmla="*/ 917 w 1694"/>
                <a:gd name="T63" fmla="*/ 261 h 3497"/>
                <a:gd name="T64" fmla="*/ 946 w 1694"/>
                <a:gd name="T65" fmla="*/ 328 h 3497"/>
                <a:gd name="T66" fmla="*/ 1683 w 1694"/>
                <a:gd name="T67" fmla="*/ 2901 h 3497"/>
                <a:gd name="T68" fmla="*/ 1693 w 1694"/>
                <a:gd name="T69" fmla="*/ 2974 h 3497"/>
                <a:gd name="T70" fmla="*/ 1693 w 1694"/>
                <a:gd name="T71" fmla="*/ 3045 h 3497"/>
                <a:gd name="T72" fmla="*/ 1683 w 1694"/>
                <a:gd name="T73" fmla="*/ 3115 h 3497"/>
                <a:gd name="T74" fmla="*/ 1663 w 1694"/>
                <a:gd name="T75" fmla="*/ 3183 h 3497"/>
                <a:gd name="T76" fmla="*/ 1633 w 1694"/>
                <a:gd name="T77" fmla="*/ 3246 h 3497"/>
                <a:gd name="T78" fmla="*/ 1595 w 1694"/>
                <a:gd name="T79" fmla="*/ 3305 h 3497"/>
                <a:gd name="T80" fmla="*/ 1549 w 1694"/>
                <a:gd name="T81" fmla="*/ 3358 h 3497"/>
                <a:gd name="T82" fmla="*/ 1494 w 1694"/>
                <a:gd name="T83" fmla="*/ 3403 h 3497"/>
                <a:gd name="T84" fmla="*/ 1434 w 1694"/>
                <a:gd name="T85" fmla="*/ 3442 h 3497"/>
                <a:gd name="T86" fmla="*/ 1367 w 1694"/>
                <a:gd name="T87" fmla="*/ 3471 h 3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4" h="3497">
                  <a:moveTo>
                    <a:pt x="1343" y="3478"/>
                  </a:moveTo>
                  <a:lnTo>
                    <a:pt x="1343" y="3478"/>
                  </a:lnTo>
                  <a:lnTo>
                    <a:pt x="1318" y="3484"/>
                  </a:lnTo>
                  <a:lnTo>
                    <a:pt x="1294" y="3489"/>
                  </a:lnTo>
                  <a:lnTo>
                    <a:pt x="1270" y="3492"/>
                  </a:lnTo>
                  <a:lnTo>
                    <a:pt x="1246" y="3496"/>
                  </a:lnTo>
                  <a:lnTo>
                    <a:pt x="1222" y="3497"/>
                  </a:lnTo>
                  <a:lnTo>
                    <a:pt x="1198" y="3497"/>
                  </a:lnTo>
                  <a:lnTo>
                    <a:pt x="1174" y="3496"/>
                  </a:lnTo>
                  <a:lnTo>
                    <a:pt x="1150" y="3492"/>
                  </a:lnTo>
                  <a:lnTo>
                    <a:pt x="1127" y="3489"/>
                  </a:lnTo>
                  <a:lnTo>
                    <a:pt x="1105" y="3485"/>
                  </a:lnTo>
                  <a:lnTo>
                    <a:pt x="1082" y="3479"/>
                  </a:lnTo>
                  <a:lnTo>
                    <a:pt x="1059" y="3473"/>
                  </a:lnTo>
                  <a:lnTo>
                    <a:pt x="1037" y="3464"/>
                  </a:lnTo>
                  <a:lnTo>
                    <a:pt x="1016" y="3456"/>
                  </a:lnTo>
                  <a:lnTo>
                    <a:pt x="994" y="3446"/>
                  </a:lnTo>
                  <a:lnTo>
                    <a:pt x="973" y="3435"/>
                  </a:lnTo>
                  <a:lnTo>
                    <a:pt x="953" y="3423"/>
                  </a:lnTo>
                  <a:lnTo>
                    <a:pt x="934" y="3411"/>
                  </a:lnTo>
                  <a:lnTo>
                    <a:pt x="915" y="3397"/>
                  </a:lnTo>
                  <a:lnTo>
                    <a:pt x="896" y="3383"/>
                  </a:lnTo>
                  <a:lnTo>
                    <a:pt x="879" y="3367"/>
                  </a:lnTo>
                  <a:lnTo>
                    <a:pt x="862" y="3351"/>
                  </a:lnTo>
                  <a:lnTo>
                    <a:pt x="846" y="3333"/>
                  </a:lnTo>
                  <a:lnTo>
                    <a:pt x="830" y="3315"/>
                  </a:lnTo>
                  <a:lnTo>
                    <a:pt x="816" y="3297"/>
                  </a:lnTo>
                  <a:lnTo>
                    <a:pt x="802" y="3277"/>
                  </a:lnTo>
                  <a:lnTo>
                    <a:pt x="790" y="3256"/>
                  </a:lnTo>
                  <a:lnTo>
                    <a:pt x="778" y="3236"/>
                  </a:lnTo>
                  <a:lnTo>
                    <a:pt x="768" y="3214"/>
                  </a:lnTo>
                  <a:lnTo>
                    <a:pt x="758" y="3191"/>
                  </a:lnTo>
                  <a:lnTo>
                    <a:pt x="749" y="3168"/>
                  </a:lnTo>
                  <a:lnTo>
                    <a:pt x="742" y="3144"/>
                  </a:lnTo>
                  <a:lnTo>
                    <a:pt x="19" y="619"/>
                  </a:lnTo>
                  <a:lnTo>
                    <a:pt x="13" y="594"/>
                  </a:lnTo>
                  <a:lnTo>
                    <a:pt x="7" y="571"/>
                  </a:lnTo>
                  <a:lnTo>
                    <a:pt x="3" y="547"/>
                  </a:lnTo>
                  <a:lnTo>
                    <a:pt x="1" y="522"/>
                  </a:lnTo>
                  <a:lnTo>
                    <a:pt x="0" y="498"/>
                  </a:lnTo>
                  <a:lnTo>
                    <a:pt x="0" y="474"/>
                  </a:lnTo>
                  <a:lnTo>
                    <a:pt x="1" y="450"/>
                  </a:lnTo>
                  <a:lnTo>
                    <a:pt x="3" y="427"/>
                  </a:lnTo>
                  <a:lnTo>
                    <a:pt x="7" y="404"/>
                  </a:lnTo>
                  <a:lnTo>
                    <a:pt x="12" y="380"/>
                  </a:lnTo>
                  <a:lnTo>
                    <a:pt x="18" y="357"/>
                  </a:lnTo>
                  <a:lnTo>
                    <a:pt x="24" y="335"/>
                  </a:lnTo>
                  <a:lnTo>
                    <a:pt x="32" y="313"/>
                  </a:lnTo>
                  <a:lnTo>
                    <a:pt x="41" y="292"/>
                  </a:lnTo>
                  <a:lnTo>
                    <a:pt x="51" y="270"/>
                  </a:lnTo>
                  <a:lnTo>
                    <a:pt x="61" y="249"/>
                  </a:lnTo>
                  <a:lnTo>
                    <a:pt x="74" y="230"/>
                  </a:lnTo>
                  <a:lnTo>
                    <a:pt x="86" y="210"/>
                  </a:lnTo>
                  <a:lnTo>
                    <a:pt x="100" y="191"/>
                  </a:lnTo>
                  <a:lnTo>
                    <a:pt x="114" y="173"/>
                  </a:lnTo>
                  <a:lnTo>
                    <a:pt x="130" y="155"/>
                  </a:lnTo>
                  <a:lnTo>
                    <a:pt x="146" y="139"/>
                  </a:lnTo>
                  <a:lnTo>
                    <a:pt x="163" y="122"/>
                  </a:lnTo>
                  <a:lnTo>
                    <a:pt x="182" y="107"/>
                  </a:lnTo>
                  <a:lnTo>
                    <a:pt x="200" y="92"/>
                  </a:lnTo>
                  <a:lnTo>
                    <a:pt x="220" y="79"/>
                  </a:lnTo>
                  <a:lnTo>
                    <a:pt x="240" y="66"/>
                  </a:lnTo>
                  <a:lnTo>
                    <a:pt x="261" y="55"/>
                  </a:lnTo>
                  <a:lnTo>
                    <a:pt x="283" y="43"/>
                  </a:lnTo>
                  <a:lnTo>
                    <a:pt x="305" y="34"/>
                  </a:lnTo>
                  <a:lnTo>
                    <a:pt x="329" y="26"/>
                  </a:lnTo>
                  <a:lnTo>
                    <a:pt x="353" y="19"/>
                  </a:lnTo>
                  <a:lnTo>
                    <a:pt x="353" y="19"/>
                  </a:lnTo>
                  <a:lnTo>
                    <a:pt x="376" y="12"/>
                  </a:lnTo>
                  <a:lnTo>
                    <a:pt x="400" y="7"/>
                  </a:lnTo>
                  <a:lnTo>
                    <a:pt x="425" y="3"/>
                  </a:lnTo>
                  <a:lnTo>
                    <a:pt x="449" y="1"/>
                  </a:lnTo>
                  <a:lnTo>
                    <a:pt x="473" y="0"/>
                  </a:lnTo>
                  <a:lnTo>
                    <a:pt x="497" y="0"/>
                  </a:lnTo>
                  <a:lnTo>
                    <a:pt x="520" y="1"/>
                  </a:lnTo>
                  <a:lnTo>
                    <a:pt x="544" y="3"/>
                  </a:lnTo>
                  <a:lnTo>
                    <a:pt x="568" y="6"/>
                  </a:lnTo>
                  <a:lnTo>
                    <a:pt x="591" y="11"/>
                  </a:lnTo>
                  <a:lnTo>
                    <a:pt x="614" y="16"/>
                  </a:lnTo>
                  <a:lnTo>
                    <a:pt x="636" y="24"/>
                  </a:lnTo>
                  <a:lnTo>
                    <a:pt x="658" y="31"/>
                  </a:lnTo>
                  <a:lnTo>
                    <a:pt x="680" y="40"/>
                  </a:lnTo>
                  <a:lnTo>
                    <a:pt x="701" y="50"/>
                  </a:lnTo>
                  <a:lnTo>
                    <a:pt x="721" y="61"/>
                  </a:lnTo>
                  <a:lnTo>
                    <a:pt x="742" y="72"/>
                  </a:lnTo>
                  <a:lnTo>
                    <a:pt x="761" y="86"/>
                  </a:lnTo>
                  <a:lnTo>
                    <a:pt x="780" y="99"/>
                  </a:lnTo>
                  <a:lnTo>
                    <a:pt x="798" y="114"/>
                  </a:lnTo>
                  <a:lnTo>
                    <a:pt x="816" y="129"/>
                  </a:lnTo>
                  <a:lnTo>
                    <a:pt x="833" y="146"/>
                  </a:lnTo>
                  <a:lnTo>
                    <a:pt x="849" y="162"/>
                  </a:lnTo>
                  <a:lnTo>
                    <a:pt x="864" y="181"/>
                  </a:lnTo>
                  <a:lnTo>
                    <a:pt x="879" y="200"/>
                  </a:lnTo>
                  <a:lnTo>
                    <a:pt x="892" y="219"/>
                  </a:lnTo>
                  <a:lnTo>
                    <a:pt x="905" y="239"/>
                  </a:lnTo>
                  <a:lnTo>
                    <a:pt x="917" y="261"/>
                  </a:lnTo>
                  <a:lnTo>
                    <a:pt x="928" y="283"/>
                  </a:lnTo>
                  <a:lnTo>
                    <a:pt x="937" y="304"/>
                  </a:lnTo>
                  <a:lnTo>
                    <a:pt x="946" y="328"/>
                  </a:lnTo>
                  <a:lnTo>
                    <a:pt x="953" y="351"/>
                  </a:lnTo>
                  <a:lnTo>
                    <a:pt x="1677" y="2877"/>
                  </a:lnTo>
                  <a:lnTo>
                    <a:pt x="1683" y="2901"/>
                  </a:lnTo>
                  <a:lnTo>
                    <a:pt x="1687" y="2926"/>
                  </a:lnTo>
                  <a:lnTo>
                    <a:pt x="1691" y="2950"/>
                  </a:lnTo>
                  <a:lnTo>
                    <a:pt x="1693" y="2974"/>
                  </a:lnTo>
                  <a:lnTo>
                    <a:pt x="1694" y="2997"/>
                  </a:lnTo>
                  <a:lnTo>
                    <a:pt x="1694" y="3022"/>
                  </a:lnTo>
                  <a:lnTo>
                    <a:pt x="1693" y="3045"/>
                  </a:lnTo>
                  <a:lnTo>
                    <a:pt x="1691" y="3069"/>
                  </a:lnTo>
                  <a:lnTo>
                    <a:pt x="1688" y="3093"/>
                  </a:lnTo>
                  <a:lnTo>
                    <a:pt x="1683" y="3115"/>
                  </a:lnTo>
                  <a:lnTo>
                    <a:pt x="1678" y="3138"/>
                  </a:lnTo>
                  <a:lnTo>
                    <a:pt x="1670" y="3161"/>
                  </a:lnTo>
                  <a:lnTo>
                    <a:pt x="1663" y="3183"/>
                  </a:lnTo>
                  <a:lnTo>
                    <a:pt x="1654" y="3204"/>
                  </a:lnTo>
                  <a:lnTo>
                    <a:pt x="1644" y="3225"/>
                  </a:lnTo>
                  <a:lnTo>
                    <a:pt x="1633" y="3246"/>
                  </a:lnTo>
                  <a:lnTo>
                    <a:pt x="1622" y="3267"/>
                  </a:lnTo>
                  <a:lnTo>
                    <a:pt x="1609" y="3286"/>
                  </a:lnTo>
                  <a:lnTo>
                    <a:pt x="1595" y="3305"/>
                  </a:lnTo>
                  <a:lnTo>
                    <a:pt x="1580" y="3324"/>
                  </a:lnTo>
                  <a:lnTo>
                    <a:pt x="1565" y="3341"/>
                  </a:lnTo>
                  <a:lnTo>
                    <a:pt x="1549" y="3358"/>
                  </a:lnTo>
                  <a:lnTo>
                    <a:pt x="1532" y="3374"/>
                  </a:lnTo>
                  <a:lnTo>
                    <a:pt x="1514" y="3389"/>
                  </a:lnTo>
                  <a:lnTo>
                    <a:pt x="1494" y="3403"/>
                  </a:lnTo>
                  <a:lnTo>
                    <a:pt x="1476" y="3417"/>
                  </a:lnTo>
                  <a:lnTo>
                    <a:pt x="1455" y="3430"/>
                  </a:lnTo>
                  <a:lnTo>
                    <a:pt x="1434" y="3442"/>
                  </a:lnTo>
                  <a:lnTo>
                    <a:pt x="1412" y="3452"/>
                  </a:lnTo>
                  <a:lnTo>
                    <a:pt x="1390" y="3461"/>
                  </a:lnTo>
                  <a:lnTo>
                    <a:pt x="1367" y="3471"/>
                  </a:lnTo>
                  <a:lnTo>
                    <a:pt x="1343" y="34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8"/>
            <p:cNvSpPr>
              <a:spLocks/>
            </p:cNvSpPr>
            <p:nvPr/>
          </p:nvSpPr>
          <p:spPr bwMode="auto">
            <a:xfrm>
              <a:off x="3161" y="940"/>
              <a:ext cx="495" cy="483"/>
            </a:xfrm>
            <a:custGeom>
              <a:avLst/>
              <a:gdLst>
                <a:gd name="T0" fmla="*/ 0 w 2974"/>
                <a:gd name="T1" fmla="*/ 0 h 2895"/>
                <a:gd name="T2" fmla="*/ 574 w 2974"/>
                <a:gd name="T3" fmla="*/ 0 h 2895"/>
                <a:gd name="T4" fmla="*/ 574 w 2974"/>
                <a:gd name="T5" fmla="*/ 2195 h 2895"/>
                <a:gd name="T6" fmla="*/ 2974 w 2974"/>
                <a:gd name="T7" fmla="*/ 2195 h 2895"/>
                <a:gd name="T8" fmla="*/ 2974 w 2974"/>
                <a:gd name="T9" fmla="*/ 2895 h 2895"/>
                <a:gd name="T10" fmla="*/ 0 w 2974"/>
                <a:gd name="T11" fmla="*/ 2895 h 2895"/>
                <a:gd name="T12" fmla="*/ 0 w 2974"/>
                <a:gd name="T13" fmla="*/ 0 h 2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4" h="2895">
                  <a:moveTo>
                    <a:pt x="0" y="0"/>
                  </a:moveTo>
                  <a:lnTo>
                    <a:pt x="574" y="0"/>
                  </a:lnTo>
                  <a:lnTo>
                    <a:pt x="574" y="2195"/>
                  </a:lnTo>
                  <a:lnTo>
                    <a:pt x="2974" y="2195"/>
                  </a:lnTo>
                  <a:lnTo>
                    <a:pt x="2974" y="2895"/>
                  </a:lnTo>
                  <a:lnTo>
                    <a:pt x="0" y="289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Rectangle 19"/>
            <p:cNvSpPr>
              <a:spLocks noChangeArrowheads="1"/>
            </p:cNvSpPr>
            <p:nvPr/>
          </p:nvSpPr>
          <p:spPr bwMode="auto">
            <a:xfrm>
              <a:off x="3291" y="780"/>
              <a:ext cx="496" cy="4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3401743" y="3486150"/>
            <a:ext cx="346075" cy="411163"/>
            <a:chOff x="7144220" y="3819402"/>
            <a:chExt cx="346075" cy="411163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7144220" y="3819402"/>
              <a:ext cx="346075" cy="411163"/>
            </a:xfrm>
            <a:custGeom>
              <a:avLst/>
              <a:gdLst>
                <a:gd name="connsiteX0" fmla="*/ 46037 w 346075"/>
                <a:gd name="connsiteY0" fmla="*/ 44450 h 411163"/>
                <a:gd name="connsiteX1" fmla="*/ 46037 w 346075"/>
                <a:gd name="connsiteY1" fmla="*/ 366713 h 411163"/>
                <a:gd name="connsiteX2" fmla="*/ 301625 w 346075"/>
                <a:gd name="connsiteY2" fmla="*/ 366713 h 411163"/>
                <a:gd name="connsiteX3" fmla="*/ 301625 w 346075"/>
                <a:gd name="connsiteY3" fmla="*/ 44450 h 411163"/>
                <a:gd name="connsiteX4" fmla="*/ 36471 w 346075"/>
                <a:gd name="connsiteY4" fmla="*/ 0 h 411163"/>
                <a:gd name="connsiteX5" fmla="*/ 309605 w 346075"/>
                <a:gd name="connsiteY5" fmla="*/ 0 h 411163"/>
                <a:gd name="connsiteX6" fmla="*/ 313172 w 346075"/>
                <a:gd name="connsiteY6" fmla="*/ 791 h 411163"/>
                <a:gd name="connsiteX7" fmla="*/ 317137 w 346075"/>
                <a:gd name="connsiteY7" fmla="*/ 1186 h 411163"/>
                <a:gd name="connsiteX8" fmla="*/ 320704 w 346075"/>
                <a:gd name="connsiteY8" fmla="*/ 1977 h 411163"/>
                <a:gd name="connsiteX9" fmla="*/ 323876 w 346075"/>
                <a:gd name="connsiteY9" fmla="*/ 2768 h 411163"/>
                <a:gd name="connsiteX10" fmla="*/ 327047 w 346075"/>
                <a:gd name="connsiteY10" fmla="*/ 4744 h 411163"/>
                <a:gd name="connsiteX11" fmla="*/ 330218 w 346075"/>
                <a:gd name="connsiteY11" fmla="*/ 6326 h 411163"/>
                <a:gd name="connsiteX12" fmla="*/ 332597 w 346075"/>
                <a:gd name="connsiteY12" fmla="*/ 8302 h 411163"/>
                <a:gd name="connsiteX13" fmla="*/ 334975 w 346075"/>
                <a:gd name="connsiteY13" fmla="*/ 11070 h 411163"/>
                <a:gd name="connsiteX14" fmla="*/ 337750 w 346075"/>
                <a:gd name="connsiteY14" fmla="*/ 13047 h 411163"/>
                <a:gd name="connsiteX15" fmla="*/ 339733 w 346075"/>
                <a:gd name="connsiteY15" fmla="*/ 15814 h 411163"/>
                <a:gd name="connsiteX16" fmla="*/ 341318 w 346075"/>
                <a:gd name="connsiteY16" fmla="*/ 18977 h 411163"/>
                <a:gd name="connsiteX17" fmla="*/ 343300 w 346075"/>
                <a:gd name="connsiteY17" fmla="*/ 22140 h 411163"/>
                <a:gd name="connsiteX18" fmla="*/ 344093 w 346075"/>
                <a:gd name="connsiteY18" fmla="*/ 25302 h 411163"/>
                <a:gd name="connsiteX19" fmla="*/ 344886 w 346075"/>
                <a:gd name="connsiteY19" fmla="*/ 28861 h 411163"/>
                <a:gd name="connsiteX20" fmla="*/ 346075 w 346075"/>
                <a:gd name="connsiteY20" fmla="*/ 32419 h 411163"/>
                <a:gd name="connsiteX21" fmla="*/ 346075 w 346075"/>
                <a:gd name="connsiteY21" fmla="*/ 36372 h 411163"/>
                <a:gd name="connsiteX22" fmla="*/ 346075 w 346075"/>
                <a:gd name="connsiteY22" fmla="*/ 375186 h 411163"/>
                <a:gd name="connsiteX23" fmla="*/ 346075 w 346075"/>
                <a:gd name="connsiteY23" fmla="*/ 378745 h 411163"/>
                <a:gd name="connsiteX24" fmla="*/ 344886 w 346075"/>
                <a:gd name="connsiteY24" fmla="*/ 382303 h 411163"/>
                <a:gd name="connsiteX25" fmla="*/ 344093 w 346075"/>
                <a:gd name="connsiteY25" fmla="*/ 385466 h 411163"/>
                <a:gd name="connsiteX26" fmla="*/ 343300 w 346075"/>
                <a:gd name="connsiteY26" fmla="*/ 389024 h 411163"/>
                <a:gd name="connsiteX27" fmla="*/ 341318 w 346075"/>
                <a:gd name="connsiteY27" fmla="*/ 392186 h 411163"/>
                <a:gd name="connsiteX28" fmla="*/ 339733 w 346075"/>
                <a:gd name="connsiteY28" fmla="*/ 394954 h 411163"/>
                <a:gd name="connsiteX29" fmla="*/ 337750 w 346075"/>
                <a:gd name="connsiteY29" fmla="*/ 397721 h 411163"/>
                <a:gd name="connsiteX30" fmla="*/ 334975 w 346075"/>
                <a:gd name="connsiteY30" fmla="*/ 400489 h 411163"/>
                <a:gd name="connsiteX31" fmla="*/ 332597 w 346075"/>
                <a:gd name="connsiteY31" fmla="*/ 402466 h 411163"/>
                <a:gd name="connsiteX32" fmla="*/ 330218 w 346075"/>
                <a:gd name="connsiteY32" fmla="*/ 404838 h 411163"/>
                <a:gd name="connsiteX33" fmla="*/ 327047 w 346075"/>
                <a:gd name="connsiteY33" fmla="*/ 406814 h 411163"/>
                <a:gd name="connsiteX34" fmla="*/ 323876 w 346075"/>
                <a:gd name="connsiteY34" fmla="*/ 408000 h 411163"/>
                <a:gd name="connsiteX35" fmla="*/ 320704 w 346075"/>
                <a:gd name="connsiteY35" fmla="*/ 409186 h 411163"/>
                <a:gd name="connsiteX36" fmla="*/ 317137 w 346075"/>
                <a:gd name="connsiteY36" fmla="*/ 410373 h 411163"/>
                <a:gd name="connsiteX37" fmla="*/ 313172 w 346075"/>
                <a:gd name="connsiteY37" fmla="*/ 410768 h 411163"/>
                <a:gd name="connsiteX38" fmla="*/ 309605 w 346075"/>
                <a:gd name="connsiteY38" fmla="*/ 411163 h 411163"/>
                <a:gd name="connsiteX39" fmla="*/ 36471 w 346075"/>
                <a:gd name="connsiteY39" fmla="*/ 411163 h 411163"/>
                <a:gd name="connsiteX40" fmla="*/ 32903 w 346075"/>
                <a:gd name="connsiteY40" fmla="*/ 410768 h 411163"/>
                <a:gd name="connsiteX41" fmla="*/ 28939 w 346075"/>
                <a:gd name="connsiteY41" fmla="*/ 410373 h 411163"/>
                <a:gd name="connsiteX42" fmla="*/ 25371 w 346075"/>
                <a:gd name="connsiteY42" fmla="*/ 409186 h 411163"/>
                <a:gd name="connsiteX43" fmla="*/ 22200 w 346075"/>
                <a:gd name="connsiteY43" fmla="*/ 408000 h 411163"/>
                <a:gd name="connsiteX44" fmla="*/ 19028 w 346075"/>
                <a:gd name="connsiteY44" fmla="*/ 406814 h 411163"/>
                <a:gd name="connsiteX45" fmla="*/ 15857 w 346075"/>
                <a:gd name="connsiteY45" fmla="*/ 404838 h 411163"/>
                <a:gd name="connsiteX46" fmla="*/ 13479 w 346075"/>
                <a:gd name="connsiteY46" fmla="*/ 402466 h 411163"/>
                <a:gd name="connsiteX47" fmla="*/ 10704 w 346075"/>
                <a:gd name="connsiteY47" fmla="*/ 400489 h 411163"/>
                <a:gd name="connsiteX48" fmla="*/ 8325 w 346075"/>
                <a:gd name="connsiteY48" fmla="*/ 397721 h 411163"/>
                <a:gd name="connsiteX49" fmla="*/ 5947 w 346075"/>
                <a:gd name="connsiteY49" fmla="*/ 394954 h 411163"/>
                <a:gd name="connsiteX50" fmla="*/ 4361 w 346075"/>
                <a:gd name="connsiteY50" fmla="*/ 392186 h 411163"/>
                <a:gd name="connsiteX51" fmla="*/ 2775 w 346075"/>
                <a:gd name="connsiteY51" fmla="*/ 389024 h 411163"/>
                <a:gd name="connsiteX52" fmla="*/ 1586 w 346075"/>
                <a:gd name="connsiteY52" fmla="*/ 385466 h 411163"/>
                <a:gd name="connsiteX53" fmla="*/ 793 w 346075"/>
                <a:gd name="connsiteY53" fmla="*/ 382303 h 411163"/>
                <a:gd name="connsiteX54" fmla="*/ 0 w 346075"/>
                <a:gd name="connsiteY54" fmla="*/ 378745 h 411163"/>
                <a:gd name="connsiteX55" fmla="*/ 0 w 346075"/>
                <a:gd name="connsiteY55" fmla="*/ 375186 h 411163"/>
                <a:gd name="connsiteX56" fmla="*/ 0 w 346075"/>
                <a:gd name="connsiteY56" fmla="*/ 36372 h 411163"/>
                <a:gd name="connsiteX57" fmla="*/ 0 w 346075"/>
                <a:gd name="connsiteY57" fmla="*/ 32419 h 411163"/>
                <a:gd name="connsiteX58" fmla="*/ 793 w 346075"/>
                <a:gd name="connsiteY58" fmla="*/ 28861 h 411163"/>
                <a:gd name="connsiteX59" fmla="*/ 1586 w 346075"/>
                <a:gd name="connsiteY59" fmla="*/ 25302 h 411163"/>
                <a:gd name="connsiteX60" fmla="*/ 2775 w 346075"/>
                <a:gd name="connsiteY60" fmla="*/ 22140 h 411163"/>
                <a:gd name="connsiteX61" fmla="*/ 4361 w 346075"/>
                <a:gd name="connsiteY61" fmla="*/ 18977 h 411163"/>
                <a:gd name="connsiteX62" fmla="*/ 5947 w 346075"/>
                <a:gd name="connsiteY62" fmla="*/ 15814 h 411163"/>
                <a:gd name="connsiteX63" fmla="*/ 8325 w 346075"/>
                <a:gd name="connsiteY63" fmla="*/ 13047 h 411163"/>
                <a:gd name="connsiteX64" fmla="*/ 10704 w 346075"/>
                <a:gd name="connsiteY64" fmla="*/ 11070 h 411163"/>
                <a:gd name="connsiteX65" fmla="*/ 13479 w 346075"/>
                <a:gd name="connsiteY65" fmla="*/ 8302 h 411163"/>
                <a:gd name="connsiteX66" fmla="*/ 15857 w 346075"/>
                <a:gd name="connsiteY66" fmla="*/ 6326 h 411163"/>
                <a:gd name="connsiteX67" fmla="*/ 19028 w 346075"/>
                <a:gd name="connsiteY67" fmla="*/ 4744 h 411163"/>
                <a:gd name="connsiteX68" fmla="*/ 22200 w 346075"/>
                <a:gd name="connsiteY68" fmla="*/ 2768 h 411163"/>
                <a:gd name="connsiteX69" fmla="*/ 25371 w 346075"/>
                <a:gd name="connsiteY69" fmla="*/ 1977 h 411163"/>
                <a:gd name="connsiteX70" fmla="*/ 28939 w 346075"/>
                <a:gd name="connsiteY70" fmla="*/ 1186 h 411163"/>
                <a:gd name="connsiteX71" fmla="*/ 32903 w 346075"/>
                <a:gd name="connsiteY71" fmla="*/ 791 h 41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46075" h="411163">
                  <a:moveTo>
                    <a:pt x="46037" y="44450"/>
                  </a:moveTo>
                  <a:lnTo>
                    <a:pt x="46037" y="366713"/>
                  </a:lnTo>
                  <a:lnTo>
                    <a:pt x="301625" y="366713"/>
                  </a:lnTo>
                  <a:lnTo>
                    <a:pt x="301625" y="44450"/>
                  </a:lnTo>
                  <a:close/>
                  <a:moveTo>
                    <a:pt x="36471" y="0"/>
                  </a:moveTo>
                  <a:lnTo>
                    <a:pt x="309605" y="0"/>
                  </a:lnTo>
                  <a:lnTo>
                    <a:pt x="313172" y="791"/>
                  </a:lnTo>
                  <a:lnTo>
                    <a:pt x="317137" y="1186"/>
                  </a:lnTo>
                  <a:lnTo>
                    <a:pt x="320704" y="1977"/>
                  </a:lnTo>
                  <a:lnTo>
                    <a:pt x="323876" y="2768"/>
                  </a:lnTo>
                  <a:lnTo>
                    <a:pt x="327047" y="4744"/>
                  </a:lnTo>
                  <a:lnTo>
                    <a:pt x="330218" y="6326"/>
                  </a:lnTo>
                  <a:lnTo>
                    <a:pt x="332597" y="8302"/>
                  </a:lnTo>
                  <a:lnTo>
                    <a:pt x="334975" y="11070"/>
                  </a:lnTo>
                  <a:lnTo>
                    <a:pt x="337750" y="13047"/>
                  </a:lnTo>
                  <a:lnTo>
                    <a:pt x="339733" y="15814"/>
                  </a:lnTo>
                  <a:lnTo>
                    <a:pt x="341318" y="18977"/>
                  </a:lnTo>
                  <a:lnTo>
                    <a:pt x="343300" y="22140"/>
                  </a:lnTo>
                  <a:lnTo>
                    <a:pt x="344093" y="25302"/>
                  </a:lnTo>
                  <a:lnTo>
                    <a:pt x="344886" y="28861"/>
                  </a:lnTo>
                  <a:lnTo>
                    <a:pt x="346075" y="32419"/>
                  </a:lnTo>
                  <a:lnTo>
                    <a:pt x="346075" y="36372"/>
                  </a:lnTo>
                  <a:lnTo>
                    <a:pt x="346075" y="375186"/>
                  </a:lnTo>
                  <a:lnTo>
                    <a:pt x="346075" y="378745"/>
                  </a:lnTo>
                  <a:lnTo>
                    <a:pt x="344886" y="382303"/>
                  </a:lnTo>
                  <a:lnTo>
                    <a:pt x="344093" y="385466"/>
                  </a:lnTo>
                  <a:lnTo>
                    <a:pt x="343300" y="389024"/>
                  </a:lnTo>
                  <a:lnTo>
                    <a:pt x="341318" y="392186"/>
                  </a:lnTo>
                  <a:lnTo>
                    <a:pt x="339733" y="394954"/>
                  </a:lnTo>
                  <a:lnTo>
                    <a:pt x="337750" y="397721"/>
                  </a:lnTo>
                  <a:lnTo>
                    <a:pt x="334975" y="400489"/>
                  </a:lnTo>
                  <a:lnTo>
                    <a:pt x="332597" y="402466"/>
                  </a:lnTo>
                  <a:lnTo>
                    <a:pt x="330218" y="404838"/>
                  </a:lnTo>
                  <a:lnTo>
                    <a:pt x="327047" y="406814"/>
                  </a:lnTo>
                  <a:lnTo>
                    <a:pt x="323876" y="408000"/>
                  </a:lnTo>
                  <a:lnTo>
                    <a:pt x="320704" y="409186"/>
                  </a:lnTo>
                  <a:lnTo>
                    <a:pt x="317137" y="410373"/>
                  </a:lnTo>
                  <a:lnTo>
                    <a:pt x="313172" y="410768"/>
                  </a:lnTo>
                  <a:lnTo>
                    <a:pt x="309605" y="411163"/>
                  </a:lnTo>
                  <a:lnTo>
                    <a:pt x="36471" y="411163"/>
                  </a:lnTo>
                  <a:lnTo>
                    <a:pt x="32903" y="410768"/>
                  </a:lnTo>
                  <a:lnTo>
                    <a:pt x="28939" y="410373"/>
                  </a:lnTo>
                  <a:lnTo>
                    <a:pt x="25371" y="409186"/>
                  </a:lnTo>
                  <a:lnTo>
                    <a:pt x="22200" y="408000"/>
                  </a:lnTo>
                  <a:lnTo>
                    <a:pt x="19028" y="406814"/>
                  </a:lnTo>
                  <a:lnTo>
                    <a:pt x="15857" y="404838"/>
                  </a:lnTo>
                  <a:lnTo>
                    <a:pt x="13479" y="402466"/>
                  </a:lnTo>
                  <a:lnTo>
                    <a:pt x="10704" y="400489"/>
                  </a:lnTo>
                  <a:lnTo>
                    <a:pt x="8325" y="397721"/>
                  </a:lnTo>
                  <a:lnTo>
                    <a:pt x="5947" y="394954"/>
                  </a:lnTo>
                  <a:lnTo>
                    <a:pt x="4361" y="392186"/>
                  </a:lnTo>
                  <a:lnTo>
                    <a:pt x="2775" y="389024"/>
                  </a:lnTo>
                  <a:lnTo>
                    <a:pt x="1586" y="385466"/>
                  </a:lnTo>
                  <a:lnTo>
                    <a:pt x="793" y="382303"/>
                  </a:lnTo>
                  <a:lnTo>
                    <a:pt x="0" y="378745"/>
                  </a:lnTo>
                  <a:lnTo>
                    <a:pt x="0" y="375186"/>
                  </a:lnTo>
                  <a:lnTo>
                    <a:pt x="0" y="36372"/>
                  </a:lnTo>
                  <a:lnTo>
                    <a:pt x="0" y="32419"/>
                  </a:lnTo>
                  <a:lnTo>
                    <a:pt x="793" y="28861"/>
                  </a:lnTo>
                  <a:lnTo>
                    <a:pt x="1586" y="25302"/>
                  </a:lnTo>
                  <a:lnTo>
                    <a:pt x="2775" y="22140"/>
                  </a:lnTo>
                  <a:lnTo>
                    <a:pt x="4361" y="18977"/>
                  </a:lnTo>
                  <a:lnTo>
                    <a:pt x="5947" y="15814"/>
                  </a:lnTo>
                  <a:lnTo>
                    <a:pt x="8325" y="13047"/>
                  </a:lnTo>
                  <a:lnTo>
                    <a:pt x="10704" y="11070"/>
                  </a:lnTo>
                  <a:lnTo>
                    <a:pt x="13479" y="8302"/>
                  </a:lnTo>
                  <a:lnTo>
                    <a:pt x="15857" y="6326"/>
                  </a:lnTo>
                  <a:lnTo>
                    <a:pt x="19028" y="4744"/>
                  </a:lnTo>
                  <a:lnTo>
                    <a:pt x="22200" y="2768"/>
                  </a:lnTo>
                  <a:lnTo>
                    <a:pt x="25371" y="1977"/>
                  </a:lnTo>
                  <a:lnTo>
                    <a:pt x="28939" y="1186"/>
                  </a:lnTo>
                  <a:lnTo>
                    <a:pt x="32903" y="79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1" name="Freeform 588"/>
            <p:cNvSpPr>
              <a:spLocks/>
            </p:cNvSpPr>
            <p:nvPr/>
          </p:nvSpPr>
          <p:spPr bwMode="auto">
            <a:xfrm>
              <a:off x="7204545" y="3892427"/>
              <a:ext cx="31750" cy="31750"/>
            </a:xfrm>
            <a:custGeom>
              <a:avLst/>
              <a:gdLst>
                <a:gd name="T0" fmla="*/ 80 w 80"/>
                <a:gd name="T1" fmla="*/ 40 h 80"/>
                <a:gd name="T2" fmla="*/ 79 w 80"/>
                <a:gd name="T3" fmla="*/ 48 h 80"/>
                <a:gd name="T4" fmla="*/ 76 w 80"/>
                <a:gd name="T5" fmla="*/ 56 h 80"/>
                <a:gd name="T6" fmla="*/ 73 w 80"/>
                <a:gd name="T7" fmla="*/ 63 h 80"/>
                <a:gd name="T8" fmla="*/ 67 w 80"/>
                <a:gd name="T9" fmla="*/ 69 h 80"/>
                <a:gd name="T10" fmla="*/ 62 w 80"/>
                <a:gd name="T11" fmla="*/ 73 h 80"/>
                <a:gd name="T12" fmla="*/ 55 w 80"/>
                <a:gd name="T13" fmla="*/ 78 h 80"/>
                <a:gd name="T14" fmla="*/ 48 w 80"/>
                <a:gd name="T15" fmla="*/ 80 h 80"/>
                <a:gd name="T16" fmla="*/ 40 w 80"/>
                <a:gd name="T17" fmla="*/ 80 h 80"/>
                <a:gd name="T18" fmla="*/ 32 w 80"/>
                <a:gd name="T19" fmla="*/ 80 h 80"/>
                <a:gd name="T20" fmla="*/ 24 w 80"/>
                <a:gd name="T21" fmla="*/ 78 h 80"/>
                <a:gd name="T22" fmla="*/ 17 w 80"/>
                <a:gd name="T23" fmla="*/ 73 h 80"/>
                <a:gd name="T24" fmla="*/ 11 w 80"/>
                <a:gd name="T25" fmla="*/ 69 h 80"/>
                <a:gd name="T26" fmla="*/ 7 w 80"/>
                <a:gd name="T27" fmla="*/ 63 h 80"/>
                <a:gd name="T28" fmla="*/ 2 w 80"/>
                <a:gd name="T29" fmla="*/ 56 h 80"/>
                <a:gd name="T30" fmla="*/ 0 w 80"/>
                <a:gd name="T31" fmla="*/ 48 h 80"/>
                <a:gd name="T32" fmla="*/ 0 w 80"/>
                <a:gd name="T33" fmla="*/ 40 h 80"/>
                <a:gd name="T34" fmla="*/ 0 w 80"/>
                <a:gd name="T35" fmla="*/ 32 h 80"/>
                <a:gd name="T36" fmla="*/ 2 w 80"/>
                <a:gd name="T37" fmla="*/ 25 h 80"/>
                <a:gd name="T38" fmla="*/ 7 w 80"/>
                <a:gd name="T39" fmla="*/ 18 h 80"/>
                <a:gd name="T40" fmla="*/ 11 w 80"/>
                <a:gd name="T41" fmla="*/ 13 h 80"/>
                <a:gd name="T42" fmla="*/ 17 w 80"/>
                <a:gd name="T43" fmla="*/ 7 h 80"/>
                <a:gd name="T44" fmla="*/ 24 w 80"/>
                <a:gd name="T45" fmla="*/ 4 h 80"/>
                <a:gd name="T46" fmla="*/ 32 w 80"/>
                <a:gd name="T47" fmla="*/ 1 h 80"/>
                <a:gd name="T48" fmla="*/ 40 w 80"/>
                <a:gd name="T49" fmla="*/ 0 h 80"/>
                <a:gd name="T50" fmla="*/ 48 w 80"/>
                <a:gd name="T51" fmla="*/ 1 h 80"/>
                <a:gd name="T52" fmla="*/ 55 w 80"/>
                <a:gd name="T53" fmla="*/ 4 h 80"/>
                <a:gd name="T54" fmla="*/ 62 w 80"/>
                <a:gd name="T55" fmla="*/ 7 h 80"/>
                <a:gd name="T56" fmla="*/ 67 w 80"/>
                <a:gd name="T57" fmla="*/ 13 h 80"/>
                <a:gd name="T58" fmla="*/ 73 w 80"/>
                <a:gd name="T59" fmla="*/ 18 h 80"/>
                <a:gd name="T60" fmla="*/ 76 w 80"/>
                <a:gd name="T61" fmla="*/ 25 h 80"/>
                <a:gd name="T62" fmla="*/ 79 w 80"/>
                <a:gd name="T63" fmla="*/ 32 h 80"/>
                <a:gd name="T64" fmla="*/ 80 w 80"/>
                <a:gd name="T65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79" y="48"/>
                  </a:lnTo>
                  <a:lnTo>
                    <a:pt x="76" y="56"/>
                  </a:lnTo>
                  <a:lnTo>
                    <a:pt x="73" y="63"/>
                  </a:lnTo>
                  <a:lnTo>
                    <a:pt x="67" y="69"/>
                  </a:lnTo>
                  <a:lnTo>
                    <a:pt x="62" y="73"/>
                  </a:lnTo>
                  <a:lnTo>
                    <a:pt x="55" y="78"/>
                  </a:lnTo>
                  <a:lnTo>
                    <a:pt x="48" y="80"/>
                  </a:lnTo>
                  <a:lnTo>
                    <a:pt x="40" y="80"/>
                  </a:lnTo>
                  <a:lnTo>
                    <a:pt x="32" y="80"/>
                  </a:lnTo>
                  <a:lnTo>
                    <a:pt x="24" y="78"/>
                  </a:lnTo>
                  <a:lnTo>
                    <a:pt x="17" y="73"/>
                  </a:lnTo>
                  <a:lnTo>
                    <a:pt x="11" y="69"/>
                  </a:lnTo>
                  <a:lnTo>
                    <a:pt x="7" y="63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5"/>
                  </a:lnTo>
                  <a:lnTo>
                    <a:pt x="7" y="18"/>
                  </a:lnTo>
                  <a:lnTo>
                    <a:pt x="11" y="13"/>
                  </a:lnTo>
                  <a:lnTo>
                    <a:pt x="17" y="7"/>
                  </a:lnTo>
                  <a:lnTo>
                    <a:pt x="24" y="4"/>
                  </a:lnTo>
                  <a:lnTo>
                    <a:pt x="32" y="1"/>
                  </a:lnTo>
                  <a:lnTo>
                    <a:pt x="40" y="0"/>
                  </a:lnTo>
                  <a:lnTo>
                    <a:pt x="48" y="1"/>
                  </a:lnTo>
                  <a:lnTo>
                    <a:pt x="55" y="4"/>
                  </a:lnTo>
                  <a:lnTo>
                    <a:pt x="62" y="7"/>
                  </a:lnTo>
                  <a:lnTo>
                    <a:pt x="67" y="13"/>
                  </a:lnTo>
                  <a:lnTo>
                    <a:pt x="73" y="18"/>
                  </a:lnTo>
                  <a:lnTo>
                    <a:pt x="76" y="25"/>
                  </a:lnTo>
                  <a:lnTo>
                    <a:pt x="79" y="32"/>
                  </a:lnTo>
                  <a:lnTo>
                    <a:pt x="8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589"/>
            <p:cNvSpPr>
              <a:spLocks noChangeArrowheads="1"/>
            </p:cNvSpPr>
            <p:nvPr/>
          </p:nvSpPr>
          <p:spPr bwMode="auto">
            <a:xfrm>
              <a:off x="7258520" y="3898777"/>
              <a:ext cx="171450" cy="190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90"/>
            <p:cNvSpPr>
              <a:spLocks/>
            </p:cNvSpPr>
            <p:nvPr/>
          </p:nvSpPr>
          <p:spPr bwMode="auto">
            <a:xfrm>
              <a:off x="7204545" y="3951164"/>
              <a:ext cx="31750" cy="31750"/>
            </a:xfrm>
            <a:custGeom>
              <a:avLst/>
              <a:gdLst>
                <a:gd name="T0" fmla="*/ 80 w 80"/>
                <a:gd name="T1" fmla="*/ 40 h 80"/>
                <a:gd name="T2" fmla="*/ 79 w 80"/>
                <a:gd name="T3" fmla="*/ 48 h 80"/>
                <a:gd name="T4" fmla="*/ 76 w 80"/>
                <a:gd name="T5" fmla="*/ 56 h 80"/>
                <a:gd name="T6" fmla="*/ 73 w 80"/>
                <a:gd name="T7" fmla="*/ 63 h 80"/>
                <a:gd name="T8" fmla="*/ 67 w 80"/>
                <a:gd name="T9" fmla="*/ 69 h 80"/>
                <a:gd name="T10" fmla="*/ 62 w 80"/>
                <a:gd name="T11" fmla="*/ 73 h 80"/>
                <a:gd name="T12" fmla="*/ 55 w 80"/>
                <a:gd name="T13" fmla="*/ 77 h 80"/>
                <a:gd name="T14" fmla="*/ 48 w 80"/>
                <a:gd name="T15" fmla="*/ 79 h 80"/>
                <a:gd name="T16" fmla="*/ 40 w 80"/>
                <a:gd name="T17" fmla="*/ 80 h 80"/>
                <a:gd name="T18" fmla="*/ 32 w 80"/>
                <a:gd name="T19" fmla="*/ 79 h 80"/>
                <a:gd name="T20" fmla="*/ 24 w 80"/>
                <a:gd name="T21" fmla="*/ 77 h 80"/>
                <a:gd name="T22" fmla="*/ 17 w 80"/>
                <a:gd name="T23" fmla="*/ 73 h 80"/>
                <a:gd name="T24" fmla="*/ 11 w 80"/>
                <a:gd name="T25" fmla="*/ 69 h 80"/>
                <a:gd name="T26" fmla="*/ 7 w 80"/>
                <a:gd name="T27" fmla="*/ 63 h 80"/>
                <a:gd name="T28" fmla="*/ 2 w 80"/>
                <a:gd name="T29" fmla="*/ 56 h 80"/>
                <a:gd name="T30" fmla="*/ 0 w 80"/>
                <a:gd name="T31" fmla="*/ 48 h 80"/>
                <a:gd name="T32" fmla="*/ 0 w 80"/>
                <a:gd name="T33" fmla="*/ 40 h 80"/>
                <a:gd name="T34" fmla="*/ 0 w 80"/>
                <a:gd name="T35" fmla="*/ 32 h 80"/>
                <a:gd name="T36" fmla="*/ 2 w 80"/>
                <a:gd name="T37" fmla="*/ 25 h 80"/>
                <a:gd name="T38" fmla="*/ 7 w 80"/>
                <a:gd name="T39" fmla="*/ 19 h 80"/>
                <a:gd name="T40" fmla="*/ 11 w 80"/>
                <a:gd name="T41" fmla="*/ 12 h 80"/>
                <a:gd name="T42" fmla="*/ 17 w 80"/>
                <a:gd name="T43" fmla="*/ 7 h 80"/>
                <a:gd name="T44" fmla="*/ 24 w 80"/>
                <a:gd name="T45" fmla="*/ 4 h 80"/>
                <a:gd name="T46" fmla="*/ 32 w 80"/>
                <a:gd name="T47" fmla="*/ 2 h 80"/>
                <a:gd name="T48" fmla="*/ 40 w 80"/>
                <a:gd name="T49" fmla="*/ 0 h 80"/>
                <a:gd name="T50" fmla="*/ 48 w 80"/>
                <a:gd name="T51" fmla="*/ 2 h 80"/>
                <a:gd name="T52" fmla="*/ 55 w 80"/>
                <a:gd name="T53" fmla="*/ 4 h 80"/>
                <a:gd name="T54" fmla="*/ 62 w 80"/>
                <a:gd name="T55" fmla="*/ 7 h 80"/>
                <a:gd name="T56" fmla="*/ 67 w 80"/>
                <a:gd name="T57" fmla="*/ 12 h 80"/>
                <a:gd name="T58" fmla="*/ 73 w 80"/>
                <a:gd name="T59" fmla="*/ 19 h 80"/>
                <a:gd name="T60" fmla="*/ 76 w 80"/>
                <a:gd name="T61" fmla="*/ 25 h 80"/>
                <a:gd name="T62" fmla="*/ 79 w 80"/>
                <a:gd name="T63" fmla="*/ 32 h 80"/>
                <a:gd name="T64" fmla="*/ 80 w 80"/>
                <a:gd name="T65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79" y="48"/>
                  </a:lnTo>
                  <a:lnTo>
                    <a:pt x="76" y="56"/>
                  </a:lnTo>
                  <a:lnTo>
                    <a:pt x="73" y="63"/>
                  </a:lnTo>
                  <a:lnTo>
                    <a:pt x="67" y="69"/>
                  </a:lnTo>
                  <a:lnTo>
                    <a:pt x="62" y="73"/>
                  </a:lnTo>
                  <a:lnTo>
                    <a:pt x="55" y="77"/>
                  </a:lnTo>
                  <a:lnTo>
                    <a:pt x="48" y="79"/>
                  </a:lnTo>
                  <a:lnTo>
                    <a:pt x="40" y="80"/>
                  </a:lnTo>
                  <a:lnTo>
                    <a:pt x="32" y="79"/>
                  </a:lnTo>
                  <a:lnTo>
                    <a:pt x="24" y="77"/>
                  </a:lnTo>
                  <a:lnTo>
                    <a:pt x="17" y="73"/>
                  </a:lnTo>
                  <a:lnTo>
                    <a:pt x="11" y="69"/>
                  </a:lnTo>
                  <a:lnTo>
                    <a:pt x="7" y="63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5"/>
                  </a:lnTo>
                  <a:lnTo>
                    <a:pt x="7" y="19"/>
                  </a:lnTo>
                  <a:lnTo>
                    <a:pt x="11" y="12"/>
                  </a:lnTo>
                  <a:lnTo>
                    <a:pt x="17" y="7"/>
                  </a:lnTo>
                  <a:lnTo>
                    <a:pt x="24" y="4"/>
                  </a:lnTo>
                  <a:lnTo>
                    <a:pt x="32" y="2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55" y="4"/>
                  </a:lnTo>
                  <a:lnTo>
                    <a:pt x="62" y="7"/>
                  </a:lnTo>
                  <a:lnTo>
                    <a:pt x="67" y="12"/>
                  </a:lnTo>
                  <a:lnTo>
                    <a:pt x="73" y="19"/>
                  </a:lnTo>
                  <a:lnTo>
                    <a:pt x="76" y="25"/>
                  </a:lnTo>
                  <a:lnTo>
                    <a:pt x="79" y="32"/>
                  </a:lnTo>
                  <a:lnTo>
                    <a:pt x="8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591"/>
            <p:cNvSpPr>
              <a:spLocks noChangeArrowheads="1"/>
            </p:cNvSpPr>
            <p:nvPr/>
          </p:nvSpPr>
          <p:spPr bwMode="auto">
            <a:xfrm>
              <a:off x="7258520" y="3957514"/>
              <a:ext cx="171450" cy="190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92"/>
            <p:cNvSpPr>
              <a:spLocks/>
            </p:cNvSpPr>
            <p:nvPr/>
          </p:nvSpPr>
          <p:spPr bwMode="auto">
            <a:xfrm>
              <a:off x="7204545" y="4009902"/>
              <a:ext cx="31750" cy="31750"/>
            </a:xfrm>
            <a:custGeom>
              <a:avLst/>
              <a:gdLst>
                <a:gd name="T0" fmla="*/ 80 w 80"/>
                <a:gd name="T1" fmla="*/ 39 h 79"/>
                <a:gd name="T2" fmla="*/ 79 w 80"/>
                <a:gd name="T3" fmla="*/ 47 h 79"/>
                <a:gd name="T4" fmla="*/ 76 w 80"/>
                <a:gd name="T5" fmla="*/ 55 h 79"/>
                <a:gd name="T6" fmla="*/ 73 w 80"/>
                <a:gd name="T7" fmla="*/ 62 h 79"/>
                <a:gd name="T8" fmla="*/ 67 w 80"/>
                <a:gd name="T9" fmla="*/ 68 h 79"/>
                <a:gd name="T10" fmla="*/ 62 w 80"/>
                <a:gd name="T11" fmla="*/ 73 h 79"/>
                <a:gd name="T12" fmla="*/ 55 w 80"/>
                <a:gd name="T13" fmla="*/ 76 h 79"/>
                <a:gd name="T14" fmla="*/ 48 w 80"/>
                <a:gd name="T15" fmla="*/ 78 h 79"/>
                <a:gd name="T16" fmla="*/ 40 w 80"/>
                <a:gd name="T17" fmla="*/ 79 h 79"/>
                <a:gd name="T18" fmla="*/ 32 w 80"/>
                <a:gd name="T19" fmla="*/ 78 h 79"/>
                <a:gd name="T20" fmla="*/ 24 w 80"/>
                <a:gd name="T21" fmla="*/ 76 h 79"/>
                <a:gd name="T22" fmla="*/ 17 w 80"/>
                <a:gd name="T23" fmla="*/ 73 h 79"/>
                <a:gd name="T24" fmla="*/ 11 w 80"/>
                <a:gd name="T25" fmla="*/ 68 h 79"/>
                <a:gd name="T26" fmla="*/ 7 w 80"/>
                <a:gd name="T27" fmla="*/ 62 h 79"/>
                <a:gd name="T28" fmla="*/ 2 w 80"/>
                <a:gd name="T29" fmla="*/ 55 h 79"/>
                <a:gd name="T30" fmla="*/ 0 w 80"/>
                <a:gd name="T31" fmla="*/ 47 h 79"/>
                <a:gd name="T32" fmla="*/ 0 w 80"/>
                <a:gd name="T33" fmla="*/ 39 h 79"/>
                <a:gd name="T34" fmla="*/ 0 w 80"/>
                <a:gd name="T35" fmla="*/ 31 h 79"/>
                <a:gd name="T36" fmla="*/ 2 w 80"/>
                <a:gd name="T37" fmla="*/ 23 h 79"/>
                <a:gd name="T38" fmla="*/ 7 w 80"/>
                <a:gd name="T39" fmla="*/ 17 h 79"/>
                <a:gd name="T40" fmla="*/ 11 w 80"/>
                <a:gd name="T41" fmla="*/ 11 h 79"/>
                <a:gd name="T42" fmla="*/ 17 w 80"/>
                <a:gd name="T43" fmla="*/ 6 h 79"/>
                <a:gd name="T44" fmla="*/ 24 w 80"/>
                <a:gd name="T45" fmla="*/ 3 h 79"/>
                <a:gd name="T46" fmla="*/ 32 w 80"/>
                <a:gd name="T47" fmla="*/ 1 h 79"/>
                <a:gd name="T48" fmla="*/ 40 w 80"/>
                <a:gd name="T49" fmla="*/ 0 h 79"/>
                <a:gd name="T50" fmla="*/ 48 w 80"/>
                <a:gd name="T51" fmla="*/ 1 h 79"/>
                <a:gd name="T52" fmla="*/ 55 w 80"/>
                <a:gd name="T53" fmla="*/ 3 h 79"/>
                <a:gd name="T54" fmla="*/ 62 w 80"/>
                <a:gd name="T55" fmla="*/ 6 h 79"/>
                <a:gd name="T56" fmla="*/ 67 w 80"/>
                <a:gd name="T57" fmla="*/ 11 h 79"/>
                <a:gd name="T58" fmla="*/ 73 w 80"/>
                <a:gd name="T59" fmla="*/ 17 h 79"/>
                <a:gd name="T60" fmla="*/ 76 w 80"/>
                <a:gd name="T61" fmla="*/ 23 h 79"/>
                <a:gd name="T62" fmla="*/ 79 w 80"/>
                <a:gd name="T63" fmla="*/ 31 h 79"/>
                <a:gd name="T64" fmla="*/ 80 w 80"/>
                <a:gd name="T65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79">
                  <a:moveTo>
                    <a:pt x="80" y="39"/>
                  </a:moveTo>
                  <a:lnTo>
                    <a:pt x="79" y="47"/>
                  </a:lnTo>
                  <a:lnTo>
                    <a:pt x="76" y="55"/>
                  </a:lnTo>
                  <a:lnTo>
                    <a:pt x="73" y="62"/>
                  </a:lnTo>
                  <a:lnTo>
                    <a:pt x="67" y="68"/>
                  </a:lnTo>
                  <a:lnTo>
                    <a:pt x="62" y="73"/>
                  </a:lnTo>
                  <a:lnTo>
                    <a:pt x="55" y="76"/>
                  </a:lnTo>
                  <a:lnTo>
                    <a:pt x="48" y="78"/>
                  </a:lnTo>
                  <a:lnTo>
                    <a:pt x="40" y="79"/>
                  </a:lnTo>
                  <a:lnTo>
                    <a:pt x="32" y="78"/>
                  </a:lnTo>
                  <a:lnTo>
                    <a:pt x="24" y="76"/>
                  </a:lnTo>
                  <a:lnTo>
                    <a:pt x="17" y="73"/>
                  </a:lnTo>
                  <a:lnTo>
                    <a:pt x="11" y="68"/>
                  </a:lnTo>
                  <a:lnTo>
                    <a:pt x="7" y="62"/>
                  </a:lnTo>
                  <a:lnTo>
                    <a:pt x="2" y="55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1"/>
                  </a:lnTo>
                  <a:lnTo>
                    <a:pt x="2" y="23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7" y="6"/>
                  </a:lnTo>
                  <a:lnTo>
                    <a:pt x="24" y="3"/>
                  </a:lnTo>
                  <a:lnTo>
                    <a:pt x="32" y="1"/>
                  </a:lnTo>
                  <a:lnTo>
                    <a:pt x="40" y="0"/>
                  </a:lnTo>
                  <a:lnTo>
                    <a:pt x="48" y="1"/>
                  </a:lnTo>
                  <a:lnTo>
                    <a:pt x="55" y="3"/>
                  </a:lnTo>
                  <a:lnTo>
                    <a:pt x="62" y="6"/>
                  </a:lnTo>
                  <a:lnTo>
                    <a:pt x="67" y="11"/>
                  </a:lnTo>
                  <a:lnTo>
                    <a:pt x="73" y="17"/>
                  </a:lnTo>
                  <a:lnTo>
                    <a:pt x="76" y="23"/>
                  </a:lnTo>
                  <a:lnTo>
                    <a:pt x="79" y="31"/>
                  </a:lnTo>
                  <a:lnTo>
                    <a:pt x="80" y="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593"/>
            <p:cNvSpPr>
              <a:spLocks noChangeArrowheads="1"/>
            </p:cNvSpPr>
            <p:nvPr/>
          </p:nvSpPr>
          <p:spPr bwMode="auto">
            <a:xfrm>
              <a:off x="7258520" y="4016252"/>
              <a:ext cx="171450" cy="190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2458377" y="3905200"/>
            <a:ext cx="469684" cy="520090"/>
            <a:chOff x="4208463" y="447675"/>
            <a:chExt cx="325437" cy="360363"/>
          </a:xfrm>
          <a:solidFill>
            <a:schemeClr val="tx1">
              <a:lumMod val="75000"/>
              <a:lumOff val="25000"/>
            </a:schemeClr>
          </a:solidFill>
          <a:effectLst/>
        </p:grpSpPr>
        <p:sp>
          <p:nvSpPr>
            <p:cNvPr id="78" name="Freeform 107"/>
            <p:cNvSpPr>
              <a:spLocks/>
            </p:cNvSpPr>
            <p:nvPr/>
          </p:nvSpPr>
          <p:spPr bwMode="auto">
            <a:xfrm>
              <a:off x="4265613" y="469900"/>
              <a:ext cx="138113" cy="42863"/>
            </a:xfrm>
            <a:custGeom>
              <a:avLst/>
              <a:gdLst>
                <a:gd name="T0" fmla="*/ 434 w 434"/>
                <a:gd name="T1" fmla="*/ 44 h 139"/>
                <a:gd name="T2" fmla="*/ 428 w 434"/>
                <a:gd name="T3" fmla="*/ 28 h 139"/>
                <a:gd name="T4" fmla="*/ 423 w 434"/>
                <a:gd name="T5" fmla="*/ 17 h 139"/>
                <a:gd name="T6" fmla="*/ 411 w 434"/>
                <a:gd name="T7" fmla="*/ 11 h 139"/>
                <a:gd name="T8" fmla="*/ 401 w 434"/>
                <a:gd name="T9" fmla="*/ 5 h 139"/>
                <a:gd name="T10" fmla="*/ 384 w 434"/>
                <a:gd name="T11" fmla="*/ 0 h 139"/>
                <a:gd name="T12" fmla="*/ 373 w 434"/>
                <a:gd name="T13" fmla="*/ 0 h 139"/>
                <a:gd name="T14" fmla="*/ 223 w 434"/>
                <a:gd name="T15" fmla="*/ 0 h 139"/>
                <a:gd name="T16" fmla="*/ 211 w 434"/>
                <a:gd name="T17" fmla="*/ 0 h 139"/>
                <a:gd name="T18" fmla="*/ 67 w 434"/>
                <a:gd name="T19" fmla="*/ 0 h 139"/>
                <a:gd name="T20" fmla="*/ 56 w 434"/>
                <a:gd name="T21" fmla="*/ 0 h 139"/>
                <a:gd name="T22" fmla="*/ 34 w 434"/>
                <a:gd name="T23" fmla="*/ 5 h 139"/>
                <a:gd name="T24" fmla="*/ 23 w 434"/>
                <a:gd name="T25" fmla="*/ 11 h 139"/>
                <a:gd name="T26" fmla="*/ 17 w 434"/>
                <a:gd name="T27" fmla="*/ 17 h 139"/>
                <a:gd name="T28" fmla="*/ 6 w 434"/>
                <a:gd name="T29" fmla="*/ 28 h 139"/>
                <a:gd name="T30" fmla="*/ 6 w 434"/>
                <a:gd name="T31" fmla="*/ 44 h 139"/>
                <a:gd name="T32" fmla="*/ 0 w 434"/>
                <a:gd name="T33" fmla="*/ 100 h 139"/>
                <a:gd name="T34" fmla="*/ 6 w 434"/>
                <a:gd name="T35" fmla="*/ 116 h 139"/>
                <a:gd name="T36" fmla="*/ 12 w 434"/>
                <a:gd name="T37" fmla="*/ 127 h 139"/>
                <a:gd name="T38" fmla="*/ 17 w 434"/>
                <a:gd name="T39" fmla="*/ 139 h 139"/>
                <a:gd name="T40" fmla="*/ 34 w 434"/>
                <a:gd name="T41" fmla="*/ 139 h 139"/>
                <a:gd name="T42" fmla="*/ 211 w 434"/>
                <a:gd name="T43" fmla="*/ 139 h 139"/>
                <a:gd name="T44" fmla="*/ 223 w 434"/>
                <a:gd name="T45" fmla="*/ 139 h 139"/>
                <a:gd name="T46" fmla="*/ 406 w 434"/>
                <a:gd name="T47" fmla="*/ 139 h 139"/>
                <a:gd name="T48" fmla="*/ 417 w 434"/>
                <a:gd name="T49" fmla="*/ 139 h 139"/>
                <a:gd name="T50" fmla="*/ 428 w 434"/>
                <a:gd name="T51" fmla="*/ 127 h 139"/>
                <a:gd name="T52" fmla="*/ 434 w 434"/>
                <a:gd name="T53" fmla="*/ 116 h 139"/>
                <a:gd name="T54" fmla="*/ 434 w 434"/>
                <a:gd name="T55" fmla="*/ 100 h 139"/>
                <a:gd name="T56" fmla="*/ 434 w 434"/>
                <a:gd name="T57" fmla="*/ 4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4" h="139">
                  <a:moveTo>
                    <a:pt x="434" y="44"/>
                  </a:moveTo>
                  <a:lnTo>
                    <a:pt x="428" y="28"/>
                  </a:lnTo>
                  <a:lnTo>
                    <a:pt x="423" y="17"/>
                  </a:lnTo>
                  <a:lnTo>
                    <a:pt x="411" y="11"/>
                  </a:lnTo>
                  <a:lnTo>
                    <a:pt x="401" y="5"/>
                  </a:lnTo>
                  <a:lnTo>
                    <a:pt x="384" y="0"/>
                  </a:lnTo>
                  <a:lnTo>
                    <a:pt x="373" y="0"/>
                  </a:lnTo>
                  <a:lnTo>
                    <a:pt x="223" y="0"/>
                  </a:lnTo>
                  <a:lnTo>
                    <a:pt x="211" y="0"/>
                  </a:lnTo>
                  <a:lnTo>
                    <a:pt x="67" y="0"/>
                  </a:lnTo>
                  <a:lnTo>
                    <a:pt x="56" y="0"/>
                  </a:lnTo>
                  <a:lnTo>
                    <a:pt x="34" y="5"/>
                  </a:lnTo>
                  <a:lnTo>
                    <a:pt x="23" y="11"/>
                  </a:lnTo>
                  <a:lnTo>
                    <a:pt x="17" y="17"/>
                  </a:lnTo>
                  <a:lnTo>
                    <a:pt x="6" y="28"/>
                  </a:lnTo>
                  <a:lnTo>
                    <a:pt x="6" y="44"/>
                  </a:lnTo>
                  <a:lnTo>
                    <a:pt x="0" y="100"/>
                  </a:lnTo>
                  <a:lnTo>
                    <a:pt x="6" y="116"/>
                  </a:lnTo>
                  <a:lnTo>
                    <a:pt x="12" y="127"/>
                  </a:lnTo>
                  <a:lnTo>
                    <a:pt x="17" y="139"/>
                  </a:lnTo>
                  <a:lnTo>
                    <a:pt x="34" y="139"/>
                  </a:lnTo>
                  <a:lnTo>
                    <a:pt x="211" y="139"/>
                  </a:lnTo>
                  <a:lnTo>
                    <a:pt x="223" y="139"/>
                  </a:lnTo>
                  <a:lnTo>
                    <a:pt x="406" y="139"/>
                  </a:lnTo>
                  <a:lnTo>
                    <a:pt x="417" y="139"/>
                  </a:lnTo>
                  <a:lnTo>
                    <a:pt x="428" y="127"/>
                  </a:lnTo>
                  <a:lnTo>
                    <a:pt x="434" y="116"/>
                  </a:lnTo>
                  <a:lnTo>
                    <a:pt x="434" y="100"/>
                  </a:lnTo>
                  <a:lnTo>
                    <a:pt x="434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08"/>
            <p:cNvSpPr>
              <a:spLocks/>
            </p:cNvSpPr>
            <p:nvPr/>
          </p:nvSpPr>
          <p:spPr bwMode="auto">
            <a:xfrm>
              <a:off x="4268788" y="471488"/>
              <a:ext cx="133350" cy="11113"/>
            </a:xfrm>
            <a:custGeom>
              <a:avLst/>
              <a:gdLst>
                <a:gd name="T0" fmla="*/ 373 w 422"/>
                <a:gd name="T1" fmla="*/ 0 h 39"/>
                <a:gd name="T2" fmla="*/ 367 w 422"/>
                <a:gd name="T3" fmla="*/ 0 h 39"/>
                <a:gd name="T4" fmla="*/ 55 w 422"/>
                <a:gd name="T5" fmla="*/ 0 h 39"/>
                <a:gd name="T6" fmla="*/ 39 w 422"/>
                <a:gd name="T7" fmla="*/ 0 h 39"/>
                <a:gd name="T8" fmla="*/ 22 w 422"/>
                <a:gd name="T9" fmla="*/ 6 h 39"/>
                <a:gd name="T10" fmla="*/ 11 w 422"/>
                <a:gd name="T11" fmla="*/ 17 h 39"/>
                <a:gd name="T12" fmla="*/ 0 w 422"/>
                <a:gd name="T13" fmla="*/ 39 h 39"/>
                <a:gd name="T14" fmla="*/ 422 w 422"/>
                <a:gd name="T15" fmla="*/ 39 h 39"/>
                <a:gd name="T16" fmla="*/ 417 w 422"/>
                <a:gd name="T17" fmla="*/ 17 h 39"/>
                <a:gd name="T18" fmla="*/ 400 w 422"/>
                <a:gd name="T19" fmla="*/ 6 h 39"/>
                <a:gd name="T20" fmla="*/ 384 w 422"/>
                <a:gd name="T21" fmla="*/ 0 h 39"/>
                <a:gd name="T22" fmla="*/ 373 w 422"/>
                <a:gd name="T2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2" h="39">
                  <a:moveTo>
                    <a:pt x="373" y="0"/>
                  </a:moveTo>
                  <a:lnTo>
                    <a:pt x="367" y="0"/>
                  </a:lnTo>
                  <a:lnTo>
                    <a:pt x="55" y="0"/>
                  </a:lnTo>
                  <a:lnTo>
                    <a:pt x="39" y="0"/>
                  </a:lnTo>
                  <a:lnTo>
                    <a:pt x="22" y="6"/>
                  </a:lnTo>
                  <a:lnTo>
                    <a:pt x="11" y="17"/>
                  </a:lnTo>
                  <a:lnTo>
                    <a:pt x="0" y="39"/>
                  </a:lnTo>
                  <a:lnTo>
                    <a:pt x="422" y="39"/>
                  </a:lnTo>
                  <a:lnTo>
                    <a:pt x="417" y="17"/>
                  </a:lnTo>
                  <a:lnTo>
                    <a:pt x="400" y="6"/>
                  </a:lnTo>
                  <a:lnTo>
                    <a:pt x="384" y="0"/>
                  </a:lnTo>
                  <a:lnTo>
                    <a:pt x="37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09"/>
            <p:cNvSpPr>
              <a:spLocks/>
            </p:cNvSpPr>
            <p:nvPr/>
          </p:nvSpPr>
          <p:spPr bwMode="auto">
            <a:xfrm>
              <a:off x="4208463" y="469900"/>
              <a:ext cx="244475" cy="319088"/>
            </a:xfrm>
            <a:custGeom>
              <a:avLst/>
              <a:gdLst>
                <a:gd name="T0" fmla="*/ 723 w 773"/>
                <a:gd name="T1" fmla="*/ 0 h 1006"/>
                <a:gd name="T2" fmla="*/ 589 w 773"/>
                <a:gd name="T3" fmla="*/ 0 h 1006"/>
                <a:gd name="T4" fmla="*/ 600 w 773"/>
                <a:gd name="T5" fmla="*/ 5 h 1006"/>
                <a:gd name="T6" fmla="*/ 611 w 773"/>
                <a:gd name="T7" fmla="*/ 17 h 1006"/>
                <a:gd name="T8" fmla="*/ 617 w 773"/>
                <a:gd name="T9" fmla="*/ 28 h 1006"/>
                <a:gd name="T10" fmla="*/ 623 w 773"/>
                <a:gd name="T11" fmla="*/ 44 h 1006"/>
                <a:gd name="T12" fmla="*/ 733 w 773"/>
                <a:gd name="T13" fmla="*/ 44 h 1006"/>
                <a:gd name="T14" fmla="*/ 733 w 773"/>
                <a:gd name="T15" fmla="*/ 978 h 1006"/>
                <a:gd name="T16" fmla="*/ 39 w 773"/>
                <a:gd name="T17" fmla="*/ 978 h 1006"/>
                <a:gd name="T18" fmla="*/ 39 w 773"/>
                <a:gd name="T19" fmla="*/ 44 h 1006"/>
                <a:gd name="T20" fmla="*/ 178 w 773"/>
                <a:gd name="T21" fmla="*/ 44 h 1006"/>
                <a:gd name="T22" fmla="*/ 183 w 773"/>
                <a:gd name="T23" fmla="*/ 28 h 1006"/>
                <a:gd name="T24" fmla="*/ 195 w 773"/>
                <a:gd name="T25" fmla="*/ 17 h 1006"/>
                <a:gd name="T26" fmla="*/ 200 w 773"/>
                <a:gd name="T27" fmla="*/ 5 h 1006"/>
                <a:gd name="T28" fmla="*/ 211 w 773"/>
                <a:gd name="T29" fmla="*/ 0 h 1006"/>
                <a:gd name="T30" fmla="*/ 50 w 773"/>
                <a:gd name="T31" fmla="*/ 0 h 1006"/>
                <a:gd name="T32" fmla="*/ 27 w 773"/>
                <a:gd name="T33" fmla="*/ 5 h 1006"/>
                <a:gd name="T34" fmla="*/ 12 w 773"/>
                <a:gd name="T35" fmla="*/ 11 h 1006"/>
                <a:gd name="T36" fmla="*/ 0 w 773"/>
                <a:gd name="T37" fmla="*/ 28 h 1006"/>
                <a:gd name="T38" fmla="*/ 0 w 773"/>
                <a:gd name="T39" fmla="*/ 50 h 1006"/>
                <a:gd name="T40" fmla="*/ 0 w 773"/>
                <a:gd name="T41" fmla="*/ 955 h 1006"/>
                <a:gd name="T42" fmla="*/ 0 w 773"/>
                <a:gd name="T43" fmla="*/ 978 h 1006"/>
                <a:gd name="T44" fmla="*/ 12 w 773"/>
                <a:gd name="T45" fmla="*/ 989 h 1006"/>
                <a:gd name="T46" fmla="*/ 27 w 773"/>
                <a:gd name="T47" fmla="*/ 1000 h 1006"/>
                <a:gd name="T48" fmla="*/ 50 w 773"/>
                <a:gd name="T49" fmla="*/ 1006 h 1006"/>
                <a:gd name="T50" fmla="*/ 723 w 773"/>
                <a:gd name="T51" fmla="*/ 1006 h 1006"/>
                <a:gd name="T52" fmla="*/ 744 w 773"/>
                <a:gd name="T53" fmla="*/ 1000 h 1006"/>
                <a:gd name="T54" fmla="*/ 761 w 773"/>
                <a:gd name="T55" fmla="*/ 989 h 1006"/>
                <a:gd name="T56" fmla="*/ 773 w 773"/>
                <a:gd name="T57" fmla="*/ 978 h 1006"/>
                <a:gd name="T58" fmla="*/ 773 w 773"/>
                <a:gd name="T59" fmla="*/ 955 h 1006"/>
                <a:gd name="T60" fmla="*/ 773 w 773"/>
                <a:gd name="T61" fmla="*/ 50 h 1006"/>
                <a:gd name="T62" fmla="*/ 773 w 773"/>
                <a:gd name="T63" fmla="*/ 28 h 1006"/>
                <a:gd name="T64" fmla="*/ 761 w 773"/>
                <a:gd name="T65" fmla="*/ 11 h 1006"/>
                <a:gd name="T66" fmla="*/ 744 w 773"/>
                <a:gd name="T67" fmla="*/ 5 h 1006"/>
                <a:gd name="T68" fmla="*/ 723 w 773"/>
                <a:gd name="T69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73" h="1006">
                  <a:moveTo>
                    <a:pt x="723" y="0"/>
                  </a:moveTo>
                  <a:lnTo>
                    <a:pt x="589" y="0"/>
                  </a:lnTo>
                  <a:lnTo>
                    <a:pt x="600" y="5"/>
                  </a:lnTo>
                  <a:lnTo>
                    <a:pt x="611" y="17"/>
                  </a:lnTo>
                  <a:lnTo>
                    <a:pt x="617" y="28"/>
                  </a:lnTo>
                  <a:lnTo>
                    <a:pt x="623" y="44"/>
                  </a:lnTo>
                  <a:lnTo>
                    <a:pt x="733" y="44"/>
                  </a:lnTo>
                  <a:lnTo>
                    <a:pt x="733" y="978"/>
                  </a:lnTo>
                  <a:lnTo>
                    <a:pt x="39" y="978"/>
                  </a:lnTo>
                  <a:lnTo>
                    <a:pt x="39" y="44"/>
                  </a:lnTo>
                  <a:lnTo>
                    <a:pt x="178" y="44"/>
                  </a:lnTo>
                  <a:lnTo>
                    <a:pt x="183" y="28"/>
                  </a:lnTo>
                  <a:lnTo>
                    <a:pt x="195" y="17"/>
                  </a:lnTo>
                  <a:lnTo>
                    <a:pt x="200" y="5"/>
                  </a:lnTo>
                  <a:lnTo>
                    <a:pt x="211" y="0"/>
                  </a:lnTo>
                  <a:lnTo>
                    <a:pt x="50" y="0"/>
                  </a:lnTo>
                  <a:lnTo>
                    <a:pt x="27" y="5"/>
                  </a:lnTo>
                  <a:lnTo>
                    <a:pt x="12" y="11"/>
                  </a:lnTo>
                  <a:lnTo>
                    <a:pt x="0" y="28"/>
                  </a:lnTo>
                  <a:lnTo>
                    <a:pt x="0" y="50"/>
                  </a:lnTo>
                  <a:lnTo>
                    <a:pt x="0" y="955"/>
                  </a:lnTo>
                  <a:lnTo>
                    <a:pt x="0" y="978"/>
                  </a:lnTo>
                  <a:lnTo>
                    <a:pt x="12" y="989"/>
                  </a:lnTo>
                  <a:lnTo>
                    <a:pt x="27" y="1000"/>
                  </a:lnTo>
                  <a:lnTo>
                    <a:pt x="50" y="1006"/>
                  </a:lnTo>
                  <a:lnTo>
                    <a:pt x="723" y="1006"/>
                  </a:lnTo>
                  <a:lnTo>
                    <a:pt x="744" y="1000"/>
                  </a:lnTo>
                  <a:lnTo>
                    <a:pt x="761" y="989"/>
                  </a:lnTo>
                  <a:lnTo>
                    <a:pt x="773" y="978"/>
                  </a:lnTo>
                  <a:lnTo>
                    <a:pt x="773" y="955"/>
                  </a:lnTo>
                  <a:lnTo>
                    <a:pt x="773" y="50"/>
                  </a:lnTo>
                  <a:lnTo>
                    <a:pt x="773" y="28"/>
                  </a:lnTo>
                  <a:lnTo>
                    <a:pt x="761" y="11"/>
                  </a:lnTo>
                  <a:lnTo>
                    <a:pt x="744" y="5"/>
                  </a:lnTo>
                  <a:lnTo>
                    <a:pt x="7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10"/>
            <p:cNvSpPr>
              <a:spLocks/>
            </p:cNvSpPr>
            <p:nvPr/>
          </p:nvSpPr>
          <p:spPr bwMode="auto">
            <a:xfrm>
              <a:off x="4316413" y="447675"/>
              <a:ext cx="39688" cy="22225"/>
            </a:xfrm>
            <a:custGeom>
              <a:avLst/>
              <a:gdLst>
                <a:gd name="T0" fmla="*/ 61 w 128"/>
                <a:gd name="T1" fmla="*/ 34 h 67"/>
                <a:gd name="T2" fmla="*/ 72 w 128"/>
                <a:gd name="T3" fmla="*/ 39 h 67"/>
                <a:gd name="T4" fmla="*/ 84 w 128"/>
                <a:gd name="T5" fmla="*/ 44 h 67"/>
                <a:gd name="T6" fmla="*/ 89 w 128"/>
                <a:gd name="T7" fmla="*/ 56 h 67"/>
                <a:gd name="T8" fmla="*/ 95 w 128"/>
                <a:gd name="T9" fmla="*/ 67 h 67"/>
                <a:gd name="T10" fmla="*/ 128 w 128"/>
                <a:gd name="T11" fmla="*/ 67 h 67"/>
                <a:gd name="T12" fmla="*/ 122 w 128"/>
                <a:gd name="T13" fmla="*/ 39 h 67"/>
                <a:gd name="T14" fmla="*/ 105 w 128"/>
                <a:gd name="T15" fmla="*/ 23 h 67"/>
                <a:gd name="T16" fmla="*/ 89 w 128"/>
                <a:gd name="T17" fmla="*/ 6 h 67"/>
                <a:gd name="T18" fmla="*/ 61 w 128"/>
                <a:gd name="T19" fmla="*/ 0 h 67"/>
                <a:gd name="T20" fmla="*/ 38 w 128"/>
                <a:gd name="T21" fmla="*/ 6 h 67"/>
                <a:gd name="T22" fmla="*/ 17 w 128"/>
                <a:gd name="T23" fmla="*/ 23 h 67"/>
                <a:gd name="T24" fmla="*/ 6 w 128"/>
                <a:gd name="T25" fmla="*/ 39 h 67"/>
                <a:gd name="T26" fmla="*/ 0 w 128"/>
                <a:gd name="T27" fmla="*/ 67 h 67"/>
                <a:gd name="T28" fmla="*/ 34 w 128"/>
                <a:gd name="T29" fmla="*/ 67 h 67"/>
                <a:gd name="T30" fmla="*/ 34 w 128"/>
                <a:gd name="T31" fmla="*/ 56 h 67"/>
                <a:gd name="T32" fmla="*/ 38 w 128"/>
                <a:gd name="T33" fmla="*/ 44 h 67"/>
                <a:gd name="T34" fmla="*/ 50 w 128"/>
                <a:gd name="T35" fmla="*/ 39 h 67"/>
                <a:gd name="T36" fmla="*/ 61 w 128"/>
                <a:gd name="T37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67">
                  <a:moveTo>
                    <a:pt x="61" y="34"/>
                  </a:moveTo>
                  <a:lnTo>
                    <a:pt x="72" y="39"/>
                  </a:lnTo>
                  <a:lnTo>
                    <a:pt x="84" y="44"/>
                  </a:lnTo>
                  <a:lnTo>
                    <a:pt x="89" y="56"/>
                  </a:lnTo>
                  <a:lnTo>
                    <a:pt x="95" y="67"/>
                  </a:lnTo>
                  <a:lnTo>
                    <a:pt x="128" y="67"/>
                  </a:lnTo>
                  <a:lnTo>
                    <a:pt x="122" y="39"/>
                  </a:lnTo>
                  <a:lnTo>
                    <a:pt x="105" y="23"/>
                  </a:lnTo>
                  <a:lnTo>
                    <a:pt x="89" y="6"/>
                  </a:lnTo>
                  <a:lnTo>
                    <a:pt x="61" y="0"/>
                  </a:lnTo>
                  <a:lnTo>
                    <a:pt x="38" y="6"/>
                  </a:lnTo>
                  <a:lnTo>
                    <a:pt x="17" y="23"/>
                  </a:lnTo>
                  <a:lnTo>
                    <a:pt x="6" y="39"/>
                  </a:lnTo>
                  <a:lnTo>
                    <a:pt x="0" y="67"/>
                  </a:lnTo>
                  <a:lnTo>
                    <a:pt x="34" y="67"/>
                  </a:lnTo>
                  <a:lnTo>
                    <a:pt x="34" y="56"/>
                  </a:lnTo>
                  <a:lnTo>
                    <a:pt x="38" y="44"/>
                  </a:lnTo>
                  <a:lnTo>
                    <a:pt x="50" y="39"/>
                  </a:lnTo>
                  <a:lnTo>
                    <a:pt x="6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1"/>
            <p:cNvSpPr>
              <a:spLocks/>
            </p:cNvSpPr>
            <p:nvPr/>
          </p:nvSpPr>
          <p:spPr bwMode="auto">
            <a:xfrm>
              <a:off x="4278313" y="565150"/>
              <a:ext cx="165100" cy="128588"/>
            </a:xfrm>
            <a:custGeom>
              <a:avLst/>
              <a:gdLst>
                <a:gd name="T0" fmla="*/ 0 w 516"/>
                <a:gd name="T1" fmla="*/ 233 h 406"/>
                <a:gd name="T2" fmla="*/ 110 w 516"/>
                <a:gd name="T3" fmla="*/ 406 h 406"/>
                <a:gd name="T4" fmla="*/ 516 w 516"/>
                <a:gd name="T5" fmla="*/ 0 h 406"/>
                <a:gd name="T6" fmla="*/ 133 w 516"/>
                <a:gd name="T7" fmla="*/ 284 h 406"/>
                <a:gd name="T8" fmla="*/ 0 w 516"/>
                <a:gd name="T9" fmla="*/ 23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406">
                  <a:moveTo>
                    <a:pt x="0" y="233"/>
                  </a:moveTo>
                  <a:lnTo>
                    <a:pt x="110" y="406"/>
                  </a:lnTo>
                  <a:lnTo>
                    <a:pt x="516" y="0"/>
                  </a:lnTo>
                  <a:lnTo>
                    <a:pt x="133" y="284"/>
                  </a:lnTo>
                  <a:lnTo>
                    <a:pt x="0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12"/>
            <p:cNvSpPr>
              <a:spLocks noEditPoints="1"/>
            </p:cNvSpPr>
            <p:nvPr/>
          </p:nvSpPr>
          <p:spPr bwMode="auto">
            <a:xfrm>
              <a:off x="4235450" y="560388"/>
              <a:ext cx="298450" cy="247650"/>
            </a:xfrm>
            <a:custGeom>
              <a:avLst/>
              <a:gdLst>
                <a:gd name="T0" fmla="*/ 571 w 944"/>
                <a:gd name="T1" fmla="*/ 451 h 778"/>
                <a:gd name="T2" fmla="*/ 599 w 944"/>
                <a:gd name="T3" fmla="*/ 378 h 778"/>
                <a:gd name="T4" fmla="*/ 611 w 944"/>
                <a:gd name="T5" fmla="*/ 306 h 778"/>
                <a:gd name="T6" fmla="*/ 583 w 944"/>
                <a:gd name="T7" fmla="*/ 183 h 778"/>
                <a:gd name="T8" fmla="*/ 522 w 944"/>
                <a:gd name="T9" fmla="*/ 89 h 778"/>
                <a:gd name="T10" fmla="*/ 422 w 944"/>
                <a:gd name="T11" fmla="*/ 23 h 778"/>
                <a:gd name="T12" fmla="*/ 305 w 944"/>
                <a:gd name="T13" fmla="*/ 0 h 778"/>
                <a:gd name="T14" fmla="*/ 183 w 944"/>
                <a:gd name="T15" fmla="*/ 23 h 778"/>
                <a:gd name="T16" fmla="*/ 88 w 944"/>
                <a:gd name="T17" fmla="*/ 89 h 778"/>
                <a:gd name="T18" fmla="*/ 21 w 944"/>
                <a:gd name="T19" fmla="*/ 183 h 778"/>
                <a:gd name="T20" fmla="*/ 0 w 944"/>
                <a:gd name="T21" fmla="*/ 306 h 778"/>
                <a:gd name="T22" fmla="*/ 21 w 944"/>
                <a:gd name="T23" fmla="*/ 422 h 778"/>
                <a:gd name="T24" fmla="*/ 88 w 944"/>
                <a:gd name="T25" fmla="*/ 522 h 778"/>
                <a:gd name="T26" fmla="*/ 183 w 944"/>
                <a:gd name="T27" fmla="*/ 584 h 778"/>
                <a:gd name="T28" fmla="*/ 305 w 944"/>
                <a:gd name="T29" fmla="*/ 611 h 778"/>
                <a:gd name="T30" fmla="*/ 411 w 944"/>
                <a:gd name="T31" fmla="*/ 589 h 778"/>
                <a:gd name="T32" fmla="*/ 510 w 944"/>
                <a:gd name="T33" fmla="*/ 533 h 778"/>
                <a:gd name="T34" fmla="*/ 877 w 944"/>
                <a:gd name="T35" fmla="*/ 772 h 778"/>
                <a:gd name="T36" fmla="*/ 900 w 944"/>
                <a:gd name="T37" fmla="*/ 778 h 778"/>
                <a:gd name="T38" fmla="*/ 938 w 944"/>
                <a:gd name="T39" fmla="*/ 761 h 778"/>
                <a:gd name="T40" fmla="*/ 944 w 944"/>
                <a:gd name="T41" fmla="*/ 728 h 778"/>
                <a:gd name="T42" fmla="*/ 927 w 944"/>
                <a:gd name="T43" fmla="*/ 700 h 778"/>
                <a:gd name="T44" fmla="*/ 255 w 944"/>
                <a:gd name="T45" fmla="*/ 550 h 778"/>
                <a:gd name="T46" fmla="*/ 160 w 944"/>
                <a:gd name="T47" fmla="*/ 517 h 778"/>
                <a:gd name="T48" fmla="*/ 94 w 944"/>
                <a:gd name="T49" fmla="*/ 445 h 778"/>
                <a:gd name="T50" fmla="*/ 55 w 944"/>
                <a:gd name="T51" fmla="*/ 356 h 778"/>
                <a:gd name="T52" fmla="*/ 55 w 944"/>
                <a:gd name="T53" fmla="*/ 255 h 778"/>
                <a:gd name="T54" fmla="*/ 94 w 944"/>
                <a:gd name="T55" fmla="*/ 161 h 778"/>
                <a:gd name="T56" fmla="*/ 160 w 944"/>
                <a:gd name="T57" fmla="*/ 95 h 778"/>
                <a:gd name="T58" fmla="*/ 255 w 944"/>
                <a:gd name="T59" fmla="*/ 55 h 778"/>
                <a:gd name="T60" fmla="*/ 356 w 944"/>
                <a:gd name="T61" fmla="*/ 55 h 778"/>
                <a:gd name="T62" fmla="*/ 444 w 944"/>
                <a:gd name="T63" fmla="*/ 95 h 778"/>
                <a:gd name="T64" fmla="*/ 510 w 944"/>
                <a:gd name="T65" fmla="*/ 161 h 778"/>
                <a:gd name="T66" fmla="*/ 550 w 944"/>
                <a:gd name="T67" fmla="*/ 255 h 778"/>
                <a:gd name="T68" fmla="*/ 550 w 944"/>
                <a:gd name="T69" fmla="*/ 356 h 778"/>
                <a:gd name="T70" fmla="*/ 510 w 944"/>
                <a:gd name="T71" fmla="*/ 451 h 778"/>
                <a:gd name="T72" fmla="*/ 438 w 944"/>
                <a:gd name="T73" fmla="*/ 522 h 778"/>
                <a:gd name="T74" fmla="*/ 350 w 944"/>
                <a:gd name="T75" fmla="*/ 556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44" h="778">
                  <a:moveTo>
                    <a:pt x="927" y="700"/>
                  </a:moveTo>
                  <a:lnTo>
                    <a:pt x="571" y="451"/>
                  </a:lnTo>
                  <a:lnTo>
                    <a:pt x="588" y="417"/>
                  </a:lnTo>
                  <a:lnTo>
                    <a:pt x="599" y="378"/>
                  </a:lnTo>
                  <a:lnTo>
                    <a:pt x="605" y="344"/>
                  </a:lnTo>
                  <a:lnTo>
                    <a:pt x="611" y="306"/>
                  </a:lnTo>
                  <a:lnTo>
                    <a:pt x="599" y="244"/>
                  </a:lnTo>
                  <a:lnTo>
                    <a:pt x="583" y="183"/>
                  </a:lnTo>
                  <a:lnTo>
                    <a:pt x="555" y="133"/>
                  </a:lnTo>
                  <a:lnTo>
                    <a:pt x="522" y="89"/>
                  </a:lnTo>
                  <a:lnTo>
                    <a:pt x="472" y="50"/>
                  </a:lnTo>
                  <a:lnTo>
                    <a:pt x="422" y="23"/>
                  </a:lnTo>
                  <a:lnTo>
                    <a:pt x="366" y="6"/>
                  </a:lnTo>
                  <a:lnTo>
                    <a:pt x="305" y="0"/>
                  </a:lnTo>
                  <a:lnTo>
                    <a:pt x="244" y="6"/>
                  </a:lnTo>
                  <a:lnTo>
                    <a:pt x="183" y="23"/>
                  </a:lnTo>
                  <a:lnTo>
                    <a:pt x="133" y="50"/>
                  </a:lnTo>
                  <a:lnTo>
                    <a:pt x="88" y="89"/>
                  </a:lnTo>
                  <a:lnTo>
                    <a:pt x="50" y="133"/>
                  </a:lnTo>
                  <a:lnTo>
                    <a:pt x="21" y="183"/>
                  </a:lnTo>
                  <a:lnTo>
                    <a:pt x="6" y="244"/>
                  </a:lnTo>
                  <a:lnTo>
                    <a:pt x="0" y="306"/>
                  </a:lnTo>
                  <a:lnTo>
                    <a:pt x="6" y="367"/>
                  </a:lnTo>
                  <a:lnTo>
                    <a:pt x="21" y="422"/>
                  </a:lnTo>
                  <a:lnTo>
                    <a:pt x="50" y="472"/>
                  </a:lnTo>
                  <a:lnTo>
                    <a:pt x="88" y="522"/>
                  </a:lnTo>
                  <a:lnTo>
                    <a:pt x="133" y="556"/>
                  </a:lnTo>
                  <a:lnTo>
                    <a:pt x="183" y="584"/>
                  </a:lnTo>
                  <a:lnTo>
                    <a:pt x="244" y="605"/>
                  </a:lnTo>
                  <a:lnTo>
                    <a:pt x="305" y="611"/>
                  </a:lnTo>
                  <a:lnTo>
                    <a:pt x="360" y="605"/>
                  </a:lnTo>
                  <a:lnTo>
                    <a:pt x="411" y="589"/>
                  </a:lnTo>
                  <a:lnTo>
                    <a:pt x="461" y="567"/>
                  </a:lnTo>
                  <a:lnTo>
                    <a:pt x="510" y="533"/>
                  </a:lnTo>
                  <a:lnTo>
                    <a:pt x="522" y="522"/>
                  </a:lnTo>
                  <a:lnTo>
                    <a:pt x="877" y="772"/>
                  </a:lnTo>
                  <a:lnTo>
                    <a:pt x="889" y="778"/>
                  </a:lnTo>
                  <a:lnTo>
                    <a:pt x="900" y="778"/>
                  </a:lnTo>
                  <a:lnTo>
                    <a:pt x="922" y="772"/>
                  </a:lnTo>
                  <a:lnTo>
                    <a:pt x="938" y="761"/>
                  </a:lnTo>
                  <a:lnTo>
                    <a:pt x="944" y="744"/>
                  </a:lnTo>
                  <a:lnTo>
                    <a:pt x="944" y="728"/>
                  </a:lnTo>
                  <a:lnTo>
                    <a:pt x="938" y="711"/>
                  </a:lnTo>
                  <a:lnTo>
                    <a:pt x="927" y="700"/>
                  </a:lnTo>
                  <a:close/>
                  <a:moveTo>
                    <a:pt x="305" y="556"/>
                  </a:moveTo>
                  <a:lnTo>
                    <a:pt x="255" y="550"/>
                  </a:lnTo>
                  <a:lnTo>
                    <a:pt x="205" y="539"/>
                  </a:lnTo>
                  <a:lnTo>
                    <a:pt x="160" y="517"/>
                  </a:lnTo>
                  <a:lnTo>
                    <a:pt x="127" y="483"/>
                  </a:lnTo>
                  <a:lnTo>
                    <a:pt x="94" y="445"/>
                  </a:lnTo>
                  <a:lnTo>
                    <a:pt x="72" y="400"/>
                  </a:lnTo>
                  <a:lnTo>
                    <a:pt x="55" y="356"/>
                  </a:lnTo>
                  <a:lnTo>
                    <a:pt x="50" y="306"/>
                  </a:lnTo>
                  <a:lnTo>
                    <a:pt x="55" y="255"/>
                  </a:lnTo>
                  <a:lnTo>
                    <a:pt x="72" y="205"/>
                  </a:lnTo>
                  <a:lnTo>
                    <a:pt x="94" y="161"/>
                  </a:lnTo>
                  <a:lnTo>
                    <a:pt x="127" y="128"/>
                  </a:lnTo>
                  <a:lnTo>
                    <a:pt x="160" y="95"/>
                  </a:lnTo>
                  <a:lnTo>
                    <a:pt x="205" y="72"/>
                  </a:lnTo>
                  <a:lnTo>
                    <a:pt x="255" y="55"/>
                  </a:lnTo>
                  <a:lnTo>
                    <a:pt x="305" y="50"/>
                  </a:lnTo>
                  <a:lnTo>
                    <a:pt x="356" y="55"/>
                  </a:lnTo>
                  <a:lnTo>
                    <a:pt x="400" y="72"/>
                  </a:lnTo>
                  <a:lnTo>
                    <a:pt x="444" y="95"/>
                  </a:lnTo>
                  <a:lnTo>
                    <a:pt x="483" y="128"/>
                  </a:lnTo>
                  <a:lnTo>
                    <a:pt x="510" y="161"/>
                  </a:lnTo>
                  <a:lnTo>
                    <a:pt x="539" y="205"/>
                  </a:lnTo>
                  <a:lnTo>
                    <a:pt x="550" y="255"/>
                  </a:lnTo>
                  <a:lnTo>
                    <a:pt x="555" y="306"/>
                  </a:lnTo>
                  <a:lnTo>
                    <a:pt x="550" y="356"/>
                  </a:lnTo>
                  <a:lnTo>
                    <a:pt x="533" y="405"/>
                  </a:lnTo>
                  <a:lnTo>
                    <a:pt x="510" y="451"/>
                  </a:lnTo>
                  <a:lnTo>
                    <a:pt x="472" y="495"/>
                  </a:lnTo>
                  <a:lnTo>
                    <a:pt x="438" y="522"/>
                  </a:lnTo>
                  <a:lnTo>
                    <a:pt x="394" y="539"/>
                  </a:lnTo>
                  <a:lnTo>
                    <a:pt x="350" y="556"/>
                  </a:lnTo>
                  <a:lnTo>
                    <a:pt x="305" y="5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115050" y="1825065"/>
            <a:ext cx="504446" cy="580734"/>
            <a:chOff x="5818111" y="5572453"/>
            <a:chExt cx="770621" cy="887165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85" name="Freeform 33"/>
            <p:cNvSpPr>
              <a:spLocks/>
            </p:cNvSpPr>
            <p:nvPr/>
          </p:nvSpPr>
          <p:spPr bwMode="auto">
            <a:xfrm>
              <a:off x="5951305" y="6055280"/>
              <a:ext cx="332984" cy="404338"/>
            </a:xfrm>
            <a:custGeom>
              <a:avLst/>
              <a:gdLst>
                <a:gd name="T0" fmla="*/ 0 w 840"/>
                <a:gd name="T1" fmla="*/ 0 h 1020"/>
                <a:gd name="T2" fmla="*/ 210 w 840"/>
                <a:gd name="T3" fmla="*/ 262 h 1020"/>
                <a:gd name="T4" fmla="*/ 408 w 840"/>
                <a:gd name="T5" fmla="*/ 168 h 1020"/>
                <a:gd name="T6" fmla="*/ 651 w 840"/>
                <a:gd name="T7" fmla="*/ 237 h 1020"/>
                <a:gd name="T8" fmla="*/ 826 w 840"/>
                <a:gd name="T9" fmla="*/ 0 h 1020"/>
                <a:gd name="T10" fmla="*/ 840 w 840"/>
                <a:gd name="T11" fmla="*/ 1020 h 1020"/>
                <a:gd name="T12" fmla="*/ 412 w 840"/>
                <a:gd name="T13" fmla="*/ 672 h 1020"/>
                <a:gd name="T14" fmla="*/ 15 w 840"/>
                <a:gd name="T15" fmla="*/ 1020 h 1020"/>
                <a:gd name="T16" fmla="*/ 0 w 840"/>
                <a:gd name="T17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0" h="1020">
                  <a:moveTo>
                    <a:pt x="0" y="0"/>
                  </a:moveTo>
                  <a:lnTo>
                    <a:pt x="210" y="262"/>
                  </a:lnTo>
                  <a:lnTo>
                    <a:pt x="408" y="168"/>
                  </a:lnTo>
                  <a:lnTo>
                    <a:pt x="651" y="237"/>
                  </a:lnTo>
                  <a:lnTo>
                    <a:pt x="826" y="0"/>
                  </a:lnTo>
                  <a:lnTo>
                    <a:pt x="840" y="1020"/>
                  </a:lnTo>
                  <a:lnTo>
                    <a:pt x="412" y="672"/>
                  </a:lnTo>
                  <a:lnTo>
                    <a:pt x="15" y="102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0"/>
            <p:cNvSpPr>
              <a:spLocks noEditPoints="1"/>
            </p:cNvSpPr>
            <p:nvPr/>
          </p:nvSpPr>
          <p:spPr bwMode="auto">
            <a:xfrm>
              <a:off x="5818111" y="5579588"/>
              <a:ext cx="612454" cy="604128"/>
            </a:xfrm>
            <a:custGeom>
              <a:avLst/>
              <a:gdLst>
                <a:gd name="T0" fmla="*/ 774 w 1546"/>
                <a:gd name="T1" fmla="*/ 0 h 1524"/>
                <a:gd name="T2" fmla="*/ 1001 w 1546"/>
                <a:gd name="T3" fmla="*/ 224 h 1524"/>
                <a:gd name="T4" fmla="*/ 1278 w 1546"/>
                <a:gd name="T5" fmla="*/ 184 h 1524"/>
                <a:gd name="T6" fmla="*/ 1309 w 1546"/>
                <a:gd name="T7" fmla="*/ 502 h 1524"/>
                <a:gd name="T8" fmla="*/ 1546 w 1546"/>
                <a:gd name="T9" fmla="*/ 649 h 1524"/>
                <a:gd name="T10" fmla="*/ 1367 w 1546"/>
                <a:gd name="T11" fmla="*/ 913 h 1524"/>
                <a:gd name="T12" fmla="*/ 1454 w 1546"/>
                <a:gd name="T13" fmla="*/ 1179 h 1524"/>
                <a:gd name="T14" fmla="*/ 1145 w 1546"/>
                <a:gd name="T15" fmla="*/ 1265 h 1524"/>
                <a:gd name="T16" fmla="*/ 1042 w 1546"/>
                <a:gd name="T17" fmla="*/ 1524 h 1524"/>
                <a:gd name="T18" fmla="*/ 751 w 1546"/>
                <a:gd name="T19" fmla="*/ 1392 h 1524"/>
                <a:gd name="T20" fmla="*/ 504 w 1546"/>
                <a:gd name="T21" fmla="*/ 1524 h 1524"/>
                <a:gd name="T22" fmla="*/ 366 w 1546"/>
                <a:gd name="T23" fmla="*/ 1236 h 1524"/>
                <a:gd name="T24" fmla="*/ 92 w 1546"/>
                <a:gd name="T25" fmla="*/ 1179 h 1524"/>
                <a:gd name="T26" fmla="*/ 172 w 1546"/>
                <a:gd name="T27" fmla="*/ 869 h 1524"/>
                <a:gd name="T28" fmla="*/ 0 w 1546"/>
                <a:gd name="T29" fmla="*/ 649 h 1524"/>
                <a:gd name="T30" fmla="*/ 259 w 1546"/>
                <a:gd name="T31" fmla="*/ 463 h 1524"/>
                <a:gd name="T32" fmla="*/ 267 w 1546"/>
                <a:gd name="T33" fmla="*/ 184 h 1524"/>
                <a:gd name="T34" fmla="*/ 587 w 1546"/>
                <a:gd name="T35" fmla="*/ 208 h 1524"/>
                <a:gd name="T36" fmla="*/ 774 w 1546"/>
                <a:gd name="T37" fmla="*/ 0 h 1524"/>
                <a:gd name="T38" fmla="*/ 774 w 1546"/>
                <a:gd name="T39" fmla="*/ 120 h 1524"/>
                <a:gd name="T40" fmla="*/ 965 w 1546"/>
                <a:gd name="T41" fmla="*/ 308 h 1524"/>
                <a:gd name="T42" fmla="*/ 1199 w 1546"/>
                <a:gd name="T43" fmla="*/ 275 h 1524"/>
                <a:gd name="T44" fmla="*/ 1225 w 1546"/>
                <a:gd name="T45" fmla="*/ 543 h 1524"/>
                <a:gd name="T46" fmla="*/ 1425 w 1546"/>
                <a:gd name="T47" fmla="*/ 667 h 1524"/>
                <a:gd name="T48" fmla="*/ 1273 w 1546"/>
                <a:gd name="T49" fmla="*/ 889 h 1524"/>
                <a:gd name="T50" fmla="*/ 1346 w 1546"/>
                <a:gd name="T51" fmla="*/ 1113 h 1524"/>
                <a:gd name="T52" fmla="*/ 1087 w 1546"/>
                <a:gd name="T53" fmla="*/ 1186 h 1524"/>
                <a:gd name="T54" fmla="*/ 1000 w 1546"/>
                <a:gd name="T55" fmla="*/ 1405 h 1524"/>
                <a:gd name="T56" fmla="*/ 755 w 1546"/>
                <a:gd name="T57" fmla="*/ 1293 h 1524"/>
                <a:gd name="T58" fmla="*/ 546 w 1546"/>
                <a:gd name="T59" fmla="*/ 1405 h 1524"/>
                <a:gd name="T60" fmla="*/ 431 w 1546"/>
                <a:gd name="T61" fmla="*/ 1161 h 1524"/>
                <a:gd name="T62" fmla="*/ 200 w 1546"/>
                <a:gd name="T63" fmla="*/ 1113 h 1524"/>
                <a:gd name="T64" fmla="*/ 266 w 1546"/>
                <a:gd name="T65" fmla="*/ 852 h 1524"/>
                <a:gd name="T66" fmla="*/ 121 w 1546"/>
                <a:gd name="T67" fmla="*/ 667 h 1524"/>
                <a:gd name="T68" fmla="*/ 340 w 1546"/>
                <a:gd name="T69" fmla="*/ 511 h 1524"/>
                <a:gd name="T70" fmla="*/ 347 w 1546"/>
                <a:gd name="T71" fmla="*/ 275 h 1524"/>
                <a:gd name="T72" fmla="*/ 616 w 1546"/>
                <a:gd name="T73" fmla="*/ 295 h 1524"/>
                <a:gd name="T74" fmla="*/ 774 w 1546"/>
                <a:gd name="T75" fmla="*/ 12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6" h="1524">
                  <a:moveTo>
                    <a:pt x="774" y="0"/>
                  </a:moveTo>
                  <a:lnTo>
                    <a:pt x="1001" y="224"/>
                  </a:lnTo>
                  <a:lnTo>
                    <a:pt x="1278" y="184"/>
                  </a:lnTo>
                  <a:lnTo>
                    <a:pt x="1309" y="502"/>
                  </a:lnTo>
                  <a:lnTo>
                    <a:pt x="1546" y="649"/>
                  </a:lnTo>
                  <a:lnTo>
                    <a:pt x="1367" y="913"/>
                  </a:lnTo>
                  <a:lnTo>
                    <a:pt x="1454" y="1179"/>
                  </a:lnTo>
                  <a:lnTo>
                    <a:pt x="1145" y="1265"/>
                  </a:lnTo>
                  <a:lnTo>
                    <a:pt x="1042" y="1524"/>
                  </a:lnTo>
                  <a:lnTo>
                    <a:pt x="751" y="1392"/>
                  </a:lnTo>
                  <a:lnTo>
                    <a:pt x="504" y="1524"/>
                  </a:lnTo>
                  <a:lnTo>
                    <a:pt x="366" y="1236"/>
                  </a:lnTo>
                  <a:lnTo>
                    <a:pt x="92" y="1179"/>
                  </a:lnTo>
                  <a:lnTo>
                    <a:pt x="172" y="869"/>
                  </a:lnTo>
                  <a:lnTo>
                    <a:pt x="0" y="649"/>
                  </a:lnTo>
                  <a:lnTo>
                    <a:pt x="259" y="463"/>
                  </a:lnTo>
                  <a:lnTo>
                    <a:pt x="267" y="184"/>
                  </a:lnTo>
                  <a:lnTo>
                    <a:pt x="587" y="208"/>
                  </a:lnTo>
                  <a:lnTo>
                    <a:pt x="774" y="0"/>
                  </a:lnTo>
                  <a:close/>
                  <a:moveTo>
                    <a:pt x="774" y="120"/>
                  </a:moveTo>
                  <a:lnTo>
                    <a:pt x="965" y="308"/>
                  </a:lnTo>
                  <a:lnTo>
                    <a:pt x="1199" y="275"/>
                  </a:lnTo>
                  <a:lnTo>
                    <a:pt x="1225" y="543"/>
                  </a:lnTo>
                  <a:lnTo>
                    <a:pt x="1425" y="667"/>
                  </a:lnTo>
                  <a:lnTo>
                    <a:pt x="1273" y="889"/>
                  </a:lnTo>
                  <a:lnTo>
                    <a:pt x="1346" y="1113"/>
                  </a:lnTo>
                  <a:lnTo>
                    <a:pt x="1087" y="1186"/>
                  </a:lnTo>
                  <a:lnTo>
                    <a:pt x="1000" y="1405"/>
                  </a:lnTo>
                  <a:lnTo>
                    <a:pt x="755" y="1293"/>
                  </a:lnTo>
                  <a:lnTo>
                    <a:pt x="546" y="1405"/>
                  </a:lnTo>
                  <a:lnTo>
                    <a:pt x="431" y="1161"/>
                  </a:lnTo>
                  <a:lnTo>
                    <a:pt x="200" y="1113"/>
                  </a:lnTo>
                  <a:lnTo>
                    <a:pt x="266" y="852"/>
                  </a:lnTo>
                  <a:lnTo>
                    <a:pt x="121" y="667"/>
                  </a:lnTo>
                  <a:lnTo>
                    <a:pt x="340" y="511"/>
                  </a:lnTo>
                  <a:lnTo>
                    <a:pt x="347" y="275"/>
                  </a:lnTo>
                  <a:lnTo>
                    <a:pt x="616" y="295"/>
                  </a:lnTo>
                  <a:lnTo>
                    <a:pt x="77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5"/>
            <p:cNvSpPr>
              <a:spLocks/>
            </p:cNvSpPr>
            <p:nvPr/>
          </p:nvSpPr>
          <p:spPr bwMode="auto">
            <a:xfrm>
              <a:off x="5944169" y="5572453"/>
              <a:ext cx="644563" cy="447150"/>
            </a:xfrm>
            <a:custGeom>
              <a:avLst/>
              <a:gdLst>
                <a:gd name="T0" fmla="*/ 0 w 1626"/>
                <a:gd name="T1" fmla="*/ 678 h 1128"/>
                <a:gd name="T2" fmla="*/ 498 w 1626"/>
                <a:gd name="T3" fmla="*/ 1128 h 1128"/>
                <a:gd name="T4" fmla="*/ 1626 w 1626"/>
                <a:gd name="T5" fmla="*/ 0 h 1128"/>
                <a:gd name="T6" fmla="*/ 486 w 1626"/>
                <a:gd name="T7" fmla="*/ 888 h 1128"/>
                <a:gd name="T8" fmla="*/ 0 w 1626"/>
                <a:gd name="T9" fmla="*/ 678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6" h="1128">
                  <a:moveTo>
                    <a:pt x="0" y="678"/>
                  </a:moveTo>
                  <a:lnTo>
                    <a:pt x="498" y="1128"/>
                  </a:lnTo>
                  <a:lnTo>
                    <a:pt x="1626" y="0"/>
                  </a:lnTo>
                  <a:lnTo>
                    <a:pt x="486" y="888"/>
                  </a:lnTo>
                  <a:lnTo>
                    <a:pt x="0" y="6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8002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Straight Connector 100"/>
          <p:cNvCxnSpPr/>
          <p:nvPr/>
        </p:nvCxnSpPr>
        <p:spPr>
          <a:xfrm>
            <a:off x="1815833" y="2853211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1041133" y="4669311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6070333" y="2472211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5270233" y="4224811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6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 rot="1302564">
            <a:off x="3367883" y="4600187"/>
            <a:ext cx="267081" cy="716853"/>
            <a:chOff x="1257033" y="4512130"/>
            <a:chExt cx="311495" cy="836060"/>
          </a:xfrm>
        </p:grpSpPr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1257033" y="4512130"/>
              <a:ext cx="311495" cy="521321"/>
            </a:xfrm>
            <a:custGeom>
              <a:avLst/>
              <a:gdLst>
                <a:gd name="T0" fmla="*/ 1153 w 1154"/>
                <a:gd name="T1" fmla="*/ 1059 h 1928"/>
                <a:gd name="T2" fmla="*/ 1153 w 1154"/>
                <a:gd name="T3" fmla="*/ 930 h 1928"/>
                <a:gd name="T4" fmla="*/ 1143 w 1154"/>
                <a:gd name="T5" fmla="*/ 798 h 1928"/>
                <a:gd name="T6" fmla="*/ 1124 w 1154"/>
                <a:gd name="T7" fmla="*/ 669 h 1928"/>
                <a:gd name="T8" fmla="*/ 1098 w 1154"/>
                <a:gd name="T9" fmla="*/ 546 h 1928"/>
                <a:gd name="T10" fmla="*/ 1068 w 1154"/>
                <a:gd name="T11" fmla="*/ 439 h 1928"/>
                <a:gd name="T12" fmla="*/ 1030 w 1154"/>
                <a:gd name="T13" fmla="*/ 340 h 1928"/>
                <a:gd name="T14" fmla="*/ 981 w 1154"/>
                <a:gd name="T15" fmla="*/ 249 h 1928"/>
                <a:gd name="T16" fmla="*/ 922 w 1154"/>
                <a:gd name="T17" fmla="*/ 164 h 1928"/>
                <a:gd name="T18" fmla="*/ 863 w 1154"/>
                <a:gd name="T19" fmla="*/ 104 h 1928"/>
                <a:gd name="T20" fmla="*/ 823 w 1154"/>
                <a:gd name="T21" fmla="*/ 73 h 1928"/>
                <a:gd name="T22" fmla="*/ 779 w 1154"/>
                <a:gd name="T23" fmla="*/ 46 h 1928"/>
                <a:gd name="T24" fmla="*/ 728 w 1154"/>
                <a:gd name="T25" fmla="*/ 21 h 1928"/>
                <a:gd name="T26" fmla="*/ 671 w 1154"/>
                <a:gd name="T27" fmla="*/ 6 h 1928"/>
                <a:gd name="T28" fmla="*/ 613 w 1154"/>
                <a:gd name="T29" fmla="*/ 0 h 1928"/>
                <a:gd name="T30" fmla="*/ 555 w 1154"/>
                <a:gd name="T31" fmla="*/ 4 h 1928"/>
                <a:gd name="T32" fmla="*/ 498 w 1154"/>
                <a:gd name="T33" fmla="*/ 17 h 1928"/>
                <a:gd name="T34" fmla="*/ 442 w 1154"/>
                <a:gd name="T35" fmla="*/ 40 h 1928"/>
                <a:gd name="T36" fmla="*/ 394 w 1154"/>
                <a:gd name="T37" fmla="*/ 67 h 1928"/>
                <a:gd name="T38" fmla="*/ 352 w 1154"/>
                <a:gd name="T39" fmla="*/ 96 h 1928"/>
                <a:gd name="T40" fmla="*/ 291 w 1154"/>
                <a:gd name="T41" fmla="*/ 150 h 1928"/>
                <a:gd name="T42" fmla="*/ 225 w 1154"/>
                <a:gd name="T43" fmla="*/ 219 h 1928"/>
                <a:gd name="T44" fmla="*/ 165 w 1154"/>
                <a:gd name="T45" fmla="*/ 304 h 1928"/>
                <a:gd name="T46" fmla="*/ 115 w 1154"/>
                <a:gd name="T47" fmla="*/ 400 h 1928"/>
                <a:gd name="T48" fmla="*/ 74 w 1154"/>
                <a:gd name="T49" fmla="*/ 502 h 1928"/>
                <a:gd name="T50" fmla="*/ 43 w 1154"/>
                <a:gd name="T51" fmla="*/ 606 h 1928"/>
                <a:gd name="T52" fmla="*/ 20 w 1154"/>
                <a:gd name="T53" fmla="*/ 708 h 1928"/>
                <a:gd name="T54" fmla="*/ 8 w 1154"/>
                <a:gd name="T55" fmla="*/ 790 h 1928"/>
                <a:gd name="T56" fmla="*/ 2 w 1154"/>
                <a:gd name="T57" fmla="*/ 889 h 1928"/>
                <a:gd name="T58" fmla="*/ 0 w 1154"/>
                <a:gd name="T59" fmla="*/ 1040 h 1928"/>
                <a:gd name="T60" fmla="*/ 11 w 1154"/>
                <a:gd name="T61" fmla="*/ 1288 h 1928"/>
                <a:gd name="T62" fmla="*/ 34 w 1154"/>
                <a:gd name="T63" fmla="*/ 1535 h 1928"/>
                <a:gd name="T64" fmla="*/ 67 w 1154"/>
                <a:gd name="T65" fmla="*/ 1751 h 1928"/>
                <a:gd name="T66" fmla="*/ 86 w 1154"/>
                <a:gd name="T67" fmla="*/ 1837 h 1928"/>
                <a:gd name="T68" fmla="*/ 100 w 1154"/>
                <a:gd name="T69" fmla="*/ 1882 h 1928"/>
                <a:gd name="T70" fmla="*/ 114 w 1154"/>
                <a:gd name="T71" fmla="*/ 1904 h 1928"/>
                <a:gd name="T72" fmla="*/ 134 w 1154"/>
                <a:gd name="T73" fmla="*/ 1919 h 1928"/>
                <a:gd name="T74" fmla="*/ 157 w 1154"/>
                <a:gd name="T75" fmla="*/ 1927 h 1928"/>
                <a:gd name="T76" fmla="*/ 185 w 1154"/>
                <a:gd name="T77" fmla="*/ 1928 h 1928"/>
                <a:gd name="T78" fmla="*/ 274 w 1154"/>
                <a:gd name="T79" fmla="*/ 1914 h 1928"/>
                <a:gd name="T80" fmla="*/ 442 w 1154"/>
                <a:gd name="T81" fmla="*/ 1890 h 1928"/>
                <a:gd name="T82" fmla="*/ 595 w 1154"/>
                <a:gd name="T83" fmla="*/ 1880 h 1928"/>
                <a:gd name="T84" fmla="*/ 760 w 1154"/>
                <a:gd name="T85" fmla="*/ 1890 h 1928"/>
                <a:gd name="T86" fmla="*/ 861 w 1154"/>
                <a:gd name="T87" fmla="*/ 1898 h 1928"/>
                <a:gd name="T88" fmla="*/ 904 w 1154"/>
                <a:gd name="T89" fmla="*/ 1890 h 1928"/>
                <a:gd name="T90" fmla="*/ 921 w 1154"/>
                <a:gd name="T91" fmla="*/ 1880 h 1928"/>
                <a:gd name="T92" fmla="*/ 935 w 1154"/>
                <a:gd name="T93" fmla="*/ 1865 h 1928"/>
                <a:gd name="T94" fmla="*/ 955 w 1154"/>
                <a:gd name="T95" fmla="*/ 1823 h 1928"/>
                <a:gd name="T96" fmla="*/ 999 w 1154"/>
                <a:gd name="T97" fmla="*/ 1704 h 1928"/>
                <a:gd name="T98" fmla="*/ 1045 w 1154"/>
                <a:gd name="T99" fmla="*/ 1555 h 1928"/>
                <a:gd name="T100" fmla="*/ 1089 w 1154"/>
                <a:gd name="T101" fmla="*/ 1398 h 1928"/>
                <a:gd name="T102" fmla="*/ 1125 w 1154"/>
                <a:gd name="T103" fmla="*/ 1252 h 1928"/>
                <a:gd name="T104" fmla="*/ 1145 w 1154"/>
                <a:gd name="T105" fmla="*/ 114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54" h="1928">
                  <a:moveTo>
                    <a:pt x="1145" y="1140"/>
                  </a:moveTo>
                  <a:lnTo>
                    <a:pt x="1150" y="1100"/>
                  </a:lnTo>
                  <a:lnTo>
                    <a:pt x="1153" y="1059"/>
                  </a:lnTo>
                  <a:lnTo>
                    <a:pt x="1154" y="1016"/>
                  </a:lnTo>
                  <a:lnTo>
                    <a:pt x="1154" y="973"/>
                  </a:lnTo>
                  <a:lnTo>
                    <a:pt x="1153" y="930"/>
                  </a:lnTo>
                  <a:lnTo>
                    <a:pt x="1151" y="886"/>
                  </a:lnTo>
                  <a:lnTo>
                    <a:pt x="1148" y="843"/>
                  </a:lnTo>
                  <a:lnTo>
                    <a:pt x="1143" y="798"/>
                  </a:lnTo>
                  <a:lnTo>
                    <a:pt x="1138" y="754"/>
                  </a:lnTo>
                  <a:lnTo>
                    <a:pt x="1131" y="711"/>
                  </a:lnTo>
                  <a:lnTo>
                    <a:pt x="1124" y="669"/>
                  </a:lnTo>
                  <a:lnTo>
                    <a:pt x="1116" y="627"/>
                  </a:lnTo>
                  <a:lnTo>
                    <a:pt x="1108" y="586"/>
                  </a:lnTo>
                  <a:lnTo>
                    <a:pt x="1098" y="546"/>
                  </a:lnTo>
                  <a:lnTo>
                    <a:pt x="1088" y="508"/>
                  </a:lnTo>
                  <a:lnTo>
                    <a:pt x="1077" y="471"/>
                  </a:lnTo>
                  <a:lnTo>
                    <a:pt x="1068" y="439"/>
                  </a:lnTo>
                  <a:lnTo>
                    <a:pt x="1056" y="405"/>
                  </a:lnTo>
                  <a:lnTo>
                    <a:pt x="1044" y="373"/>
                  </a:lnTo>
                  <a:lnTo>
                    <a:pt x="1030" y="340"/>
                  </a:lnTo>
                  <a:lnTo>
                    <a:pt x="1015" y="309"/>
                  </a:lnTo>
                  <a:lnTo>
                    <a:pt x="1000" y="279"/>
                  </a:lnTo>
                  <a:lnTo>
                    <a:pt x="981" y="249"/>
                  </a:lnTo>
                  <a:lnTo>
                    <a:pt x="963" y="219"/>
                  </a:lnTo>
                  <a:lnTo>
                    <a:pt x="944" y="191"/>
                  </a:lnTo>
                  <a:lnTo>
                    <a:pt x="922" y="164"/>
                  </a:lnTo>
                  <a:lnTo>
                    <a:pt x="899" y="139"/>
                  </a:lnTo>
                  <a:lnTo>
                    <a:pt x="876" y="115"/>
                  </a:lnTo>
                  <a:lnTo>
                    <a:pt x="863" y="104"/>
                  </a:lnTo>
                  <a:lnTo>
                    <a:pt x="850" y="93"/>
                  </a:lnTo>
                  <a:lnTo>
                    <a:pt x="837" y="82"/>
                  </a:lnTo>
                  <a:lnTo>
                    <a:pt x="823" y="73"/>
                  </a:lnTo>
                  <a:lnTo>
                    <a:pt x="809" y="63"/>
                  </a:lnTo>
                  <a:lnTo>
                    <a:pt x="795" y="53"/>
                  </a:lnTo>
                  <a:lnTo>
                    <a:pt x="779" y="46"/>
                  </a:lnTo>
                  <a:lnTo>
                    <a:pt x="764" y="37"/>
                  </a:lnTo>
                  <a:lnTo>
                    <a:pt x="746" y="28"/>
                  </a:lnTo>
                  <a:lnTo>
                    <a:pt x="728" y="21"/>
                  </a:lnTo>
                  <a:lnTo>
                    <a:pt x="709" y="14"/>
                  </a:lnTo>
                  <a:lnTo>
                    <a:pt x="690" y="10"/>
                  </a:lnTo>
                  <a:lnTo>
                    <a:pt x="671" y="6"/>
                  </a:lnTo>
                  <a:lnTo>
                    <a:pt x="652" y="2"/>
                  </a:lnTo>
                  <a:lnTo>
                    <a:pt x="633" y="0"/>
                  </a:lnTo>
                  <a:lnTo>
                    <a:pt x="613" y="0"/>
                  </a:lnTo>
                  <a:lnTo>
                    <a:pt x="594" y="0"/>
                  </a:lnTo>
                  <a:lnTo>
                    <a:pt x="574" y="1"/>
                  </a:lnTo>
                  <a:lnTo>
                    <a:pt x="555" y="4"/>
                  </a:lnTo>
                  <a:lnTo>
                    <a:pt x="536" y="8"/>
                  </a:lnTo>
                  <a:lnTo>
                    <a:pt x="517" y="12"/>
                  </a:lnTo>
                  <a:lnTo>
                    <a:pt x="498" y="17"/>
                  </a:lnTo>
                  <a:lnTo>
                    <a:pt x="478" y="24"/>
                  </a:lnTo>
                  <a:lnTo>
                    <a:pt x="460" y="31"/>
                  </a:lnTo>
                  <a:lnTo>
                    <a:pt x="442" y="40"/>
                  </a:lnTo>
                  <a:lnTo>
                    <a:pt x="425" y="49"/>
                  </a:lnTo>
                  <a:lnTo>
                    <a:pt x="409" y="57"/>
                  </a:lnTo>
                  <a:lnTo>
                    <a:pt x="394" y="67"/>
                  </a:lnTo>
                  <a:lnTo>
                    <a:pt x="379" y="77"/>
                  </a:lnTo>
                  <a:lnTo>
                    <a:pt x="365" y="87"/>
                  </a:lnTo>
                  <a:lnTo>
                    <a:pt x="352" y="96"/>
                  </a:lnTo>
                  <a:lnTo>
                    <a:pt x="339" y="107"/>
                  </a:lnTo>
                  <a:lnTo>
                    <a:pt x="314" y="129"/>
                  </a:lnTo>
                  <a:lnTo>
                    <a:pt x="291" y="150"/>
                  </a:lnTo>
                  <a:lnTo>
                    <a:pt x="270" y="172"/>
                  </a:lnTo>
                  <a:lnTo>
                    <a:pt x="248" y="195"/>
                  </a:lnTo>
                  <a:lnTo>
                    <a:pt x="225" y="219"/>
                  </a:lnTo>
                  <a:lnTo>
                    <a:pt x="204" y="246"/>
                  </a:lnTo>
                  <a:lnTo>
                    <a:pt x="184" y="274"/>
                  </a:lnTo>
                  <a:lnTo>
                    <a:pt x="165" y="304"/>
                  </a:lnTo>
                  <a:lnTo>
                    <a:pt x="148" y="335"/>
                  </a:lnTo>
                  <a:lnTo>
                    <a:pt x="130" y="367"/>
                  </a:lnTo>
                  <a:lnTo>
                    <a:pt x="115" y="400"/>
                  </a:lnTo>
                  <a:lnTo>
                    <a:pt x="100" y="433"/>
                  </a:lnTo>
                  <a:lnTo>
                    <a:pt x="87" y="468"/>
                  </a:lnTo>
                  <a:lnTo>
                    <a:pt x="74" y="502"/>
                  </a:lnTo>
                  <a:lnTo>
                    <a:pt x="63" y="537"/>
                  </a:lnTo>
                  <a:lnTo>
                    <a:pt x="53" y="571"/>
                  </a:lnTo>
                  <a:lnTo>
                    <a:pt x="43" y="606"/>
                  </a:lnTo>
                  <a:lnTo>
                    <a:pt x="34" y="641"/>
                  </a:lnTo>
                  <a:lnTo>
                    <a:pt x="27" y="674"/>
                  </a:lnTo>
                  <a:lnTo>
                    <a:pt x="20" y="708"/>
                  </a:lnTo>
                  <a:lnTo>
                    <a:pt x="16" y="732"/>
                  </a:lnTo>
                  <a:lnTo>
                    <a:pt x="12" y="760"/>
                  </a:lnTo>
                  <a:lnTo>
                    <a:pt x="8" y="790"/>
                  </a:lnTo>
                  <a:lnTo>
                    <a:pt x="6" y="821"/>
                  </a:lnTo>
                  <a:lnTo>
                    <a:pt x="4" y="854"/>
                  </a:lnTo>
                  <a:lnTo>
                    <a:pt x="2" y="889"/>
                  </a:lnTo>
                  <a:lnTo>
                    <a:pt x="1" y="925"/>
                  </a:lnTo>
                  <a:lnTo>
                    <a:pt x="0" y="962"/>
                  </a:lnTo>
                  <a:lnTo>
                    <a:pt x="0" y="1040"/>
                  </a:lnTo>
                  <a:lnTo>
                    <a:pt x="2" y="1120"/>
                  </a:lnTo>
                  <a:lnTo>
                    <a:pt x="5" y="1203"/>
                  </a:lnTo>
                  <a:lnTo>
                    <a:pt x="11" y="1288"/>
                  </a:lnTo>
                  <a:lnTo>
                    <a:pt x="17" y="1372"/>
                  </a:lnTo>
                  <a:lnTo>
                    <a:pt x="25" y="1454"/>
                  </a:lnTo>
                  <a:lnTo>
                    <a:pt x="34" y="1535"/>
                  </a:lnTo>
                  <a:lnTo>
                    <a:pt x="44" y="1612"/>
                  </a:lnTo>
                  <a:lnTo>
                    <a:pt x="55" y="1684"/>
                  </a:lnTo>
                  <a:lnTo>
                    <a:pt x="67" y="1751"/>
                  </a:lnTo>
                  <a:lnTo>
                    <a:pt x="73" y="1781"/>
                  </a:lnTo>
                  <a:lnTo>
                    <a:pt x="80" y="1810"/>
                  </a:lnTo>
                  <a:lnTo>
                    <a:pt x="86" y="1837"/>
                  </a:lnTo>
                  <a:lnTo>
                    <a:pt x="94" y="1862"/>
                  </a:lnTo>
                  <a:lnTo>
                    <a:pt x="97" y="1873"/>
                  </a:lnTo>
                  <a:lnTo>
                    <a:pt x="100" y="1882"/>
                  </a:lnTo>
                  <a:lnTo>
                    <a:pt x="104" y="1890"/>
                  </a:lnTo>
                  <a:lnTo>
                    <a:pt x="109" y="1898"/>
                  </a:lnTo>
                  <a:lnTo>
                    <a:pt x="114" y="1904"/>
                  </a:lnTo>
                  <a:lnTo>
                    <a:pt x="121" y="1911"/>
                  </a:lnTo>
                  <a:lnTo>
                    <a:pt x="126" y="1915"/>
                  </a:lnTo>
                  <a:lnTo>
                    <a:pt x="134" y="1919"/>
                  </a:lnTo>
                  <a:lnTo>
                    <a:pt x="140" y="1923"/>
                  </a:lnTo>
                  <a:lnTo>
                    <a:pt x="149" y="1926"/>
                  </a:lnTo>
                  <a:lnTo>
                    <a:pt x="157" y="1927"/>
                  </a:lnTo>
                  <a:lnTo>
                    <a:pt x="166" y="1928"/>
                  </a:lnTo>
                  <a:lnTo>
                    <a:pt x="176" y="1928"/>
                  </a:lnTo>
                  <a:lnTo>
                    <a:pt x="185" y="1928"/>
                  </a:lnTo>
                  <a:lnTo>
                    <a:pt x="196" y="1927"/>
                  </a:lnTo>
                  <a:lnTo>
                    <a:pt x="208" y="1925"/>
                  </a:lnTo>
                  <a:lnTo>
                    <a:pt x="274" y="1914"/>
                  </a:lnTo>
                  <a:lnTo>
                    <a:pt x="334" y="1904"/>
                  </a:lnTo>
                  <a:lnTo>
                    <a:pt x="391" y="1897"/>
                  </a:lnTo>
                  <a:lnTo>
                    <a:pt x="442" y="1890"/>
                  </a:lnTo>
                  <a:lnTo>
                    <a:pt x="493" y="1885"/>
                  </a:lnTo>
                  <a:lnTo>
                    <a:pt x="544" y="1882"/>
                  </a:lnTo>
                  <a:lnTo>
                    <a:pt x="595" y="1880"/>
                  </a:lnTo>
                  <a:lnTo>
                    <a:pt x="648" y="1879"/>
                  </a:lnTo>
                  <a:lnTo>
                    <a:pt x="708" y="1884"/>
                  </a:lnTo>
                  <a:lnTo>
                    <a:pt x="760" y="1890"/>
                  </a:lnTo>
                  <a:lnTo>
                    <a:pt x="805" y="1894"/>
                  </a:lnTo>
                  <a:lnTo>
                    <a:pt x="844" y="1898"/>
                  </a:lnTo>
                  <a:lnTo>
                    <a:pt x="861" y="1898"/>
                  </a:lnTo>
                  <a:lnTo>
                    <a:pt x="877" y="1897"/>
                  </a:lnTo>
                  <a:lnTo>
                    <a:pt x="891" y="1894"/>
                  </a:lnTo>
                  <a:lnTo>
                    <a:pt x="904" y="1890"/>
                  </a:lnTo>
                  <a:lnTo>
                    <a:pt x="910" y="1888"/>
                  </a:lnTo>
                  <a:lnTo>
                    <a:pt x="915" y="1884"/>
                  </a:lnTo>
                  <a:lnTo>
                    <a:pt x="921" y="1880"/>
                  </a:lnTo>
                  <a:lnTo>
                    <a:pt x="926" y="1876"/>
                  </a:lnTo>
                  <a:lnTo>
                    <a:pt x="931" y="1871"/>
                  </a:lnTo>
                  <a:lnTo>
                    <a:pt x="935" y="1865"/>
                  </a:lnTo>
                  <a:lnTo>
                    <a:pt x="939" y="1859"/>
                  </a:lnTo>
                  <a:lnTo>
                    <a:pt x="942" y="1852"/>
                  </a:lnTo>
                  <a:lnTo>
                    <a:pt x="955" y="1823"/>
                  </a:lnTo>
                  <a:lnTo>
                    <a:pt x="969" y="1788"/>
                  </a:lnTo>
                  <a:lnTo>
                    <a:pt x="984" y="1748"/>
                  </a:lnTo>
                  <a:lnTo>
                    <a:pt x="999" y="1704"/>
                  </a:lnTo>
                  <a:lnTo>
                    <a:pt x="1014" y="1657"/>
                  </a:lnTo>
                  <a:lnTo>
                    <a:pt x="1030" y="1607"/>
                  </a:lnTo>
                  <a:lnTo>
                    <a:pt x="1045" y="1555"/>
                  </a:lnTo>
                  <a:lnTo>
                    <a:pt x="1060" y="1502"/>
                  </a:lnTo>
                  <a:lnTo>
                    <a:pt x="1075" y="1450"/>
                  </a:lnTo>
                  <a:lnTo>
                    <a:pt x="1089" y="1398"/>
                  </a:lnTo>
                  <a:lnTo>
                    <a:pt x="1102" y="1346"/>
                  </a:lnTo>
                  <a:lnTo>
                    <a:pt x="1114" y="1297"/>
                  </a:lnTo>
                  <a:lnTo>
                    <a:pt x="1125" y="1252"/>
                  </a:lnTo>
                  <a:lnTo>
                    <a:pt x="1134" y="1210"/>
                  </a:lnTo>
                  <a:lnTo>
                    <a:pt x="1141" y="1172"/>
                  </a:lnTo>
                  <a:lnTo>
                    <a:pt x="1145" y="114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1302459" y="5092938"/>
              <a:ext cx="237947" cy="255252"/>
            </a:xfrm>
            <a:custGeom>
              <a:avLst/>
              <a:gdLst>
                <a:gd name="T0" fmla="*/ 2 w 882"/>
                <a:gd name="T1" fmla="*/ 178 h 944"/>
                <a:gd name="T2" fmla="*/ 10 w 882"/>
                <a:gd name="T3" fmla="*/ 296 h 944"/>
                <a:gd name="T4" fmla="*/ 16 w 882"/>
                <a:gd name="T5" fmla="*/ 376 h 944"/>
                <a:gd name="T6" fmla="*/ 27 w 882"/>
                <a:gd name="T7" fmla="*/ 456 h 944"/>
                <a:gd name="T8" fmla="*/ 41 w 882"/>
                <a:gd name="T9" fmla="*/ 532 h 944"/>
                <a:gd name="T10" fmla="*/ 58 w 882"/>
                <a:gd name="T11" fmla="*/ 604 h 944"/>
                <a:gd name="T12" fmla="*/ 81 w 882"/>
                <a:gd name="T13" fmla="*/ 670 h 944"/>
                <a:gd name="T14" fmla="*/ 109 w 882"/>
                <a:gd name="T15" fmla="*/ 728 h 944"/>
                <a:gd name="T16" fmla="*/ 142 w 882"/>
                <a:gd name="T17" fmla="*/ 780 h 944"/>
                <a:gd name="T18" fmla="*/ 170 w 882"/>
                <a:gd name="T19" fmla="*/ 817 h 944"/>
                <a:gd name="T20" fmla="*/ 190 w 882"/>
                <a:gd name="T21" fmla="*/ 839 h 944"/>
                <a:gd name="T22" fmla="*/ 213 w 882"/>
                <a:gd name="T23" fmla="*/ 860 h 944"/>
                <a:gd name="T24" fmla="*/ 238 w 882"/>
                <a:gd name="T25" fmla="*/ 879 h 944"/>
                <a:gd name="T26" fmla="*/ 264 w 882"/>
                <a:gd name="T27" fmla="*/ 897 h 944"/>
                <a:gd name="T28" fmla="*/ 292 w 882"/>
                <a:gd name="T29" fmla="*/ 912 h 944"/>
                <a:gd name="T30" fmla="*/ 322 w 882"/>
                <a:gd name="T31" fmla="*/ 924 h 944"/>
                <a:gd name="T32" fmla="*/ 354 w 882"/>
                <a:gd name="T33" fmla="*/ 933 h 944"/>
                <a:gd name="T34" fmla="*/ 389 w 882"/>
                <a:gd name="T35" fmla="*/ 941 h 944"/>
                <a:gd name="T36" fmla="*/ 426 w 882"/>
                <a:gd name="T37" fmla="*/ 944 h 944"/>
                <a:gd name="T38" fmla="*/ 465 w 882"/>
                <a:gd name="T39" fmla="*/ 944 h 944"/>
                <a:gd name="T40" fmla="*/ 506 w 882"/>
                <a:gd name="T41" fmla="*/ 941 h 944"/>
                <a:gd name="T42" fmla="*/ 563 w 882"/>
                <a:gd name="T43" fmla="*/ 930 h 944"/>
                <a:gd name="T44" fmla="*/ 615 w 882"/>
                <a:gd name="T45" fmla="*/ 916 h 944"/>
                <a:gd name="T46" fmla="*/ 646 w 882"/>
                <a:gd name="T47" fmla="*/ 905 h 944"/>
                <a:gd name="T48" fmla="*/ 675 w 882"/>
                <a:gd name="T49" fmla="*/ 892 h 944"/>
                <a:gd name="T50" fmla="*/ 703 w 882"/>
                <a:gd name="T51" fmla="*/ 877 h 944"/>
                <a:gd name="T52" fmla="*/ 729 w 882"/>
                <a:gd name="T53" fmla="*/ 860 h 944"/>
                <a:gd name="T54" fmla="*/ 753 w 882"/>
                <a:gd name="T55" fmla="*/ 842 h 944"/>
                <a:gd name="T56" fmla="*/ 774 w 882"/>
                <a:gd name="T57" fmla="*/ 821 h 944"/>
                <a:gd name="T58" fmla="*/ 795 w 882"/>
                <a:gd name="T59" fmla="*/ 798 h 944"/>
                <a:gd name="T60" fmla="*/ 812 w 882"/>
                <a:gd name="T61" fmla="*/ 774 h 944"/>
                <a:gd name="T62" fmla="*/ 828 w 882"/>
                <a:gd name="T63" fmla="*/ 747 h 944"/>
                <a:gd name="T64" fmla="*/ 843 w 882"/>
                <a:gd name="T65" fmla="*/ 718 h 944"/>
                <a:gd name="T66" fmla="*/ 854 w 882"/>
                <a:gd name="T67" fmla="*/ 687 h 944"/>
                <a:gd name="T68" fmla="*/ 865 w 882"/>
                <a:gd name="T69" fmla="*/ 654 h 944"/>
                <a:gd name="T70" fmla="*/ 873 w 882"/>
                <a:gd name="T71" fmla="*/ 619 h 944"/>
                <a:gd name="T72" fmla="*/ 879 w 882"/>
                <a:gd name="T73" fmla="*/ 572 h 944"/>
                <a:gd name="T74" fmla="*/ 882 w 882"/>
                <a:gd name="T75" fmla="*/ 501 h 944"/>
                <a:gd name="T76" fmla="*/ 881 w 882"/>
                <a:gd name="T77" fmla="*/ 418 h 944"/>
                <a:gd name="T78" fmla="*/ 875 w 882"/>
                <a:gd name="T79" fmla="*/ 328 h 944"/>
                <a:gd name="T80" fmla="*/ 866 w 882"/>
                <a:gd name="T81" fmla="*/ 237 h 944"/>
                <a:gd name="T82" fmla="*/ 853 w 882"/>
                <a:gd name="T83" fmla="*/ 151 h 944"/>
                <a:gd name="T84" fmla="*/ 838 w 882"/>
                <a:gd name="T85" fmla="*/ 77 h 944"/>
                <a:gd name="T86" fmla="*/ 825 w 882"/>
                <a:gd name="T87" fmla="*/ 32 h 944"/>
                <a:gd name="T88" fmla="*/ 816 w 882"/>
                <a:gd name="T89" fmla="*/ 9 h 944"/>
                <a:gd name="T90" fmla="*/ 0 w 882"/>
                <a:gd name="T91" fmla="*/ 104 h 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82" h="944">
                  <a:moveTo>
                    <a:pt x="0" y="104"/>
                  </a:moveTo>
                  <a:lnTo>
                    <a:pt x="2" y="178"/>
                  </a:lnTo>
                  <a:lnTo>
                    <a:pt x="7" y="257"/>
                  </a:lnTo>
                  <a:lnTo>
                    <a:pt x="10" y="296"/>
                  </a:lnTo>
                  <a:lnTo>
                    <a:pt x="13" y="336"/>
                  </a:lnTo>
                  <a:lnTo>
                    <a:pt x="16" y="376"/>
                  </a:lnTo>
                  <a:lnTo>
                    <a:pt x="22" y="416"/>
                  </a:lnTo>
                  <a:lnTo>
                    <a:pt x="27" y="456"/>
                  </a:lnTo>
                  <a:lnTo>
                    <a:pt x="34" y="494"/>
                  </a:lnTo>
                  <a:lnTo>
                    <a:pt x="41" y="532"/>
                  </a:lnTo>
                  <a:lnTo>
                    <a:pt x="49" y="568"/>
                  </a:lnTo>
                  <a:lnTo>
                    <a:pt x="58" y="604"/>
                  </a:lnTo>
                  <a:lnTo>
                    <a:pt x="69" y="639"/>
                  </a:lnTo>
                  <a:lnTo>
                    <a:pt x="81" y="670"/>
                  </a:lnTo>
                  <a:lnTo>
                    <a:pt x="95" y="700"/>
                  </a:lnTo>
                  <a:lnTo>
                    <a:pt x="109" y="728"/>
                  </a:lnTo>
                  <a:lnTo>
                    <a:pt x="124" y="754"/>
                  </a:lnTo>
                  <a:lnTo>
                    <a:pt x="142" y="780"/>
                  </a:lnTo>
                  <a:lnTo>
                    <a:pt x="160" y="805"/>
                  </a:lnTo>
                  <a:lnTo>
                    <a:pt x="170" y="817"/>
                  </a:lnTo>
                  <a:lnTo>
                    <a:pt x="179" y="828"/>
                  </a:lnTo>
                  <a:lnTo>
                    <a:pt x="190" y="839"/>
                  </a:lnTo>
                  <a:lnTo>
                    <a:pt x="201" y="850"/>
                  </a:lnTo>
                  <a:lnTo>
                    <a:pt x="213" y="860"/>
                  </a:lnTo>
                  <a:lnTo>
                    <a:pt x="225" y="870"/>
                  </a:lnTo>
                  <a:lnTo>
                    <a:pt x="238" y="879"/>
                  </a:lnTo>
                  <a:lnTo>
                    <a:pt x="251" y="888"/>
                  </a:lnTo>
                  <a:lnTo>
                    <a:pt x="264" y="897"/>
                  </a:lnTo>
                  <a:lnTo>
                    <a:pt x="278" y="904"/>
                  </a:lnTo>
                  <a:lnTo>
                    <a:pt x="292" y="912"/>
                  </a:lnTo>
                  <a:lnTo>
                    <a:pt x="307" y="918"/>
                  </a:lnTo>
                  <a:lnTo>
                    <a:pt x="322" y="924"/>
                  </a:lnTo>
                  <a:lnTo>
                    <a:pt x="338" y="929"/>
                  </a:lnTo>
                  <a:lnTo>
                    <a:pt x="354" y="933"/>
                  </a:lnTo>
                  <a:lnTo>
                    <a:pt x="372" y="938"/>
                  </a:lnTo>
                  <a:lnTo>
                    <a:pt x="389" y="941"/>
                  </a:lnTo>
                  <a:lnTo>
                    <a:pt x="406" y="943"/>
                  </a:lnTo>
                  <a:lnTo>
                    <a:pt x="426" y="944"/>
                  </a:lnTo>
                  <a:lnTo>
                    <a:pt x="444" y="944"/>
                  </a:lnTo>
                  <a:lnTo>
                    <a:pt x="465" y="944"/>
                  </a:lnTo>
                  <a:lnTo>
                    <a:pt x="484" y="943"/>
                  </a:lnTo>
                  <a:lnTo>
                    <a:pt x="506" y="941"/>
                  </a:lnTo>
                  <a:lnTo>
                    <a:pt x="527" y="938"/>
                  </a:lnTo>
                  <a:lnTo>
                    <a:pt x="563" y="930"/>
                  </a:lnTo>
                  <a:lnTo>
                    <a:pt x="597" y="922"/>
                  </a:lnTo>
                  <a:lnTo>
                    <a:pt x="615" y="916"/>
                  </a:lnTo>
                  <a:lnTo>
                    <a:pt x="630" y="911"/>
                  </a:lnTo>
                  <a:lnTo>
                    <a:pt x="646" y="905"/>
                  </a:lnTo>
                  <a:lnTo>
                    <a:pt x="661" y="899"/>
                  </a:lnTo>
                  <a:lnTo>
                    <a:pt x="675" y="892"/>
                  </a:lnTo>
                  <a:lnTo>
                    <a:pt x="689" y="885"/>
                  </a:lnTo>
                  <a:lnTo>
                    <a:pt x="703" y="877"/>
                  </a:lnTo>
                  <a:lnTo>
                    <a:pt x="716" y="869"/>
                  </a:lnTo>
                  <a:lnTo>
                    <a:pt x="729" y="860"/>
                  </a:lnTo>
                  <a:lnTo>
                    <a:pt x="741" y="851"/>
                  </a:lnTo>
                  <a:lnTo>
                    <a:pt x="753" y="842"/>
                  </a:lnTo>
                  <a:lnTo>
                    <a:pt x="764" y="832"/>
                  </a:lnTo>
                  <a:lnTo>
                    <a:pt x="774" y="821"/>
                  </a:lnTo>
                  <a:lnTo>
                    <a:pt x="785" y="810"/>
                  </a:lnTo>
                  <a:lnTo>
                    <a:pt x="795" y="798"/>
                  </a:lnTo>
                  <a:lnTo>
                    <a:pt x="804" y="787"/>
                  </a:lnTo>
                  <a:lnTo>
                    <a:pt x="812" y="774"/>
                  </a:lnTo>
                  <a:lnTo>
                    <a:pt x="821" y="761"/>
                  </a:lnTo>
                  <a:lnTo>
                    <a:pt x="828" y="747"/>
                  </a:lnTo>
                  <a:lnTo>
                    <a:pt x="836" y="733"/>
                  </a:lnTo>
                  <a:lnTo>
                    <a:pt x="843" y="718"/>
                  </a:lnTo>
                  <a:lnTo>
                    <a:pt x="849" y="703"/>
                  </a:lnTo>
                  <a:lnTo>
                    <a:pt x="854" y="687"/>
                  </a:lnTo>
                  <a:lnTo>
                    <a:pt x="860" y="671"/>
                  </a:lnTo>
                  <a:lnTo>
                    <a:pt x="865" y="654"/>
                  </a:lnTo>
                  <a:lnTo>
                    <a:pt x="868" y="636"/>
                  </a:lnTo>
                  <a:lnTo>
                    <a:pt x="873" y="619"/>
                  </a:lnTo>
                  <a:lnTo>
                    <a:pt x="876" y="601"/>
                  </a:lnTo>
                  <a:lnTo>
                    <a:pt x="879" y="572"/>
                  </a:lnTo>
                  <a:lnTo>
                    <a:pt x="881" y="538"/>
                  </a:lnTo>
                  <a:lnTo>
                    <a:pt x="882" y="501"/>
                  </a:lnTo>
                  <a:lnTo>
                    <a:pt x="882" y="461"/>
                  </a:lnTo>
                  <a:lnTo>
                    <a:pt x="881" y="418"/>
                  </a:lnTo>
                  <a:lnTo>
                    <a:pt x="879" y="373"/>
                  </a:lnTo>
                  <a:lnTo>
                    <a:pt x="875" y="328"/>
                  </a:lnTo>
                  <a:lnTo>
                    <a:pt x="872" y="282"/>
                  </a:lnTo>
                  <a:lnTo>
                    <a:pt x="866" y="237"/>
                  </a:lnTo>
                  <a:lnTo>
                    <a:pt x="860" y="193"/>
                  </a:lnTo>
                  <a:lnTo>
                    <a:pt x="853" y="151"/>
                  </a:lnTo>
                  <a:lnTo>
                    <a:pt x="846" y="112"/>
                  </a:lnTo>
                  <a:lnTo>
                    <a:pt x="838" y="77"/>
                  </a:lnTo>
                  <a:lnTo>
                    <a:pt x="830" y="46"/>
                  </a:lnTo>
                  <a:lnTo>
                    <a:pt x="825" y="32"/>
                  </a:lnTo>
                  <a:lnTo>
                    <a:pt x="821" y="20"/>
                  </a:lnTo>
                  <a:lnTo>
                    <a:pt x="816" y="9"/>
                  </a:lnTo>
                  <a:lnTo>
                    <a:pt x="811" y="0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oup 7"/>
          <p:cNvGrpSpPr/>
          <p:nvPr/>
        </p:nvGrpSpPr>
        <p:grpSpPr>
          <a:xfrm rot="1228518">
            <a:off x="4667174" y="4010214"/>
            <a:ext cx="268008" cy="716853"/>
            <a:chOff x="1870288" y="4047051"/>
            <a:chExt cx="312576" cy="836060"/>
          </a:xfrm>
        </p:grpSpPr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1870288" y="4047051"/>
              <a:ext cx="312576" cy="521321"/>
            </a:xfrm>
            <a:custGeom>
              <a:avLst/>
              <a:gdLst>
                <a:gd name="T0" fmla="*/ 2 w 1154"/>
                <a:gd name="T1" fmla="*/ 1058 h 1928"/>
                <a:gd name="T2" fmla="*/ 1 w 1154"/>
                <a:gd name="T3" fmla="*/ 930 h 1928"/>
                <a:gd name="T4" fmla="*/ 12 w 1154"/>
                <a:gd name="T5" fmla="*/ 798 h 1928"/>
                <a:gd name="T6" fmla="*/ 31 w 1154"/>
                <a:gd name="T7" fmla="*/ 667 h 1928"/>
                <a:gd name="T8" fmla="*/ 57 w 1154"/>
                <a:gd name="T9" fmla="*/ 545 h 1928"/>
                <a:gd name="T10" fmla="*/ 87 w 1154"/>
                <a:gd name="T11" fmla="*/ 437 h 1928"/>
                <a:gd name="T12" fmla="*/ 124 w 1154"/>
                <a:gd name="T13" fmla="*/ 340 h 1928"/>
                <a:gd name="T14" fmla="*/ 172 w 1154"/>
                <a:gd name="T15" fmla="*/ 248 h 1928"/>
                <a:gd name="T16" fmla="*/ 233 w 1154"/>
                <a:gd name="T17" fmla="*/ 164 h 1928"/>
                <a:gd name="T18" fmla="*/ 292 w 1154"/>
                <a:gd name="T19" fmla="*/ 103 h 1928"/>
                <a:gd name="T20" fmla="*/ 332 w 1154"/>
                <a:gd name="T21" fmla="*/ 71 h 1928"/>
                <a:gd name="T22" fmla="*/ 376 w 1154"/>
                <a:gd name="T23" fmla="*/ 44 h 1928"/>
                <a:gd name="T24" fmla="*/ 427 w 1154"/>
                <a:gd name="T25" fmla="*/ 20 h 1928"/>
                <a:gd name="T26" fmla="*/ 483 w 1154"/>
                <a:gd name="T27" fmla="*/ 5 h 1928"/>
                <a:gd name="T28" fmla="*/ 541 w 1154"/>
                <a:gd name="T29" fmla="*/ 0 h 1928"/>
                <a:gd name="T30" fmla="*/ 599 w 1154"/>
                <a:gd name="T31" fmla="*/ 3 h 1928"/>
                <a:gd name="T32" fmla="*/ 657 w 1154"/>
                <a:gd name="T33" fmla="*/ 17 h 1928"/>
                <a:gd name="T34" fmla="*/ 712 w 1154"/>
                <a:gd name="T35" fmla="*/ 40 h 1928"/>
                <a:gd name="T36" fmla="*/ 761 w 1154"/>
                <a:gd name="T37" fmla="*/ 67 h 1928"/>
                <a:gd name="T38" fmla="*/ 803 w 1154"/>
                <a:gd name="T39" fmla="*/ 96 h 1928"/>
                <a:gd name="T40" fmla="*/ 864 w 1154"/>
                <a:gd name="T41" fmla="*/ 150 h 1928"/>
                <a:gd name="T42" fmla="*/ 928 w 1154"/>
                <a:gd name="T43" fmla="*/ 219 h 1928"/>
                <a:gd name="T44" fmla="*/ 990 w 1154"/>
                <a:gd name="T45" fmla="*/ 303 h 1928"/>
                <a:gd name="T46" fmla="*/ 1040 w 1154"/>
                <a:gd name="T47" fmla="*/ 399 h 1928"/>
                <a:gd name="T48" fmla="*/ 1080 w 1154"/>
                <a:gd name="T49" fmla="*/ 502 h 1928"/>
                <a:gd name="T50" fmla="*/ 1111 w 1154"/>
                <a:gd name="T51" fmla="*/ 606 h 1928"/>
                <a:gd name="T52" fmla="*/ 1135 w 1154"/>
                <a:gd name="T53" fmla="*/ 706 h 1928"/>
                <a:gd name="T54" fmla="*/ 1145 w 1154"/>
                <a:gd name="T55" fmla="*/ 789 h 1928"/>
                <a:gd name="T56" fmla="*/ 1153 w 1154"/>
                <a:gd name="T57" fmla="*/ 889 h 1928"/>
                <a:gd name="T58" fmla="*/ 1154 w 1154"/>
                <a:gd name="T59" fmla="*/ 1039 h 1928"/>
                <a:gd name="T60" fmla="*/ 1144 w 1154"/>
                <a:gd name="T61" fmla="*/ 1287 h 1928"/>
                <a:gd name="T62" fmla="*/ 1121 w 1154"/>
                <a:gd name="T63" fmla="*/ 1533 h 1928"/>
                <a:gd name="T64" fmla="*/ 1087 w 1154"/>
                <a:gd name="T65" fmla="*/ 1749 h 1928"/>
                <a:gd name="T66" fmla="*/ 1068 w 1154"/>
                <a:gd name="T67" fmla="*/ 1837 h 1928"/>
                <a:gd name="T68" fmla="*/ 1055 w 1154"/>
                <a:gd name="T69" fmla="*/ 1881 h 1928"/>
                <a:gd name="T70" fmla="*/ 1040 w 1154"/>
                <a:gd name="T71" fmla="*/ 1904 h 1928"/>
                <a:gd name="T72" fmla="*/ 1021 w 1154"/>
                <a:gd name="T73" fmla="*/ 1919 h 1928"/>
                <a:gd name="T74" fmla="*/ 998 w 1154"/>
                <a:gd name="T75" fmla="*/ 1926 h 1928"/>
                <a:gd name="T76" fmla="*/ 969 w 1154"/>
                <a:gd name="T77" fmla="*/ 1928 h 1928"/>
                <a:gd name="T78" fmla="*/ 881 w 1154"/>
                <a:gd name="T79" fmla="*/ 1912 h 1928"/>
                <a:gd name="T80" fmla="*/ 711 w 1154"/>
                <a:gd name="T81" fmla="*/ 1890 h 1928"/>
                <a:gd name="T82" fmla="*/ 560 w 1154"/>
                <a:gd name="T83" fmla="*/ 1879 h 1928"/>
                <a:gd name="T84" fmla="*/ 395 w 1154"/>
                <a:gd name="T85" fmla="*/ 1889 h 1928"/>
                <a:gd name="T86" fmla="*/ 293 w 1154"/>
                <a:gd name="T87" fmla="*/ 1897 h 1928"/>
                <a:gd name="T88" fmla="*/ 250 w 1154"/>
                <a:gd name="T89" fmla="*/ 1890 h 1928"/>
                <a:gd name="T90" fmla="*/ 234 w 1154"/>
                <a:gd name="T91" fmla="*/ 1880 h 1928"/>
                <a:gd name="T92" fmla="*/ 220 w 1154"/>
                <a:gd name="T93" fmla="*/ 1865 h 1928"/>
                <a:gd name="T94" fmla="*/ 199 w 1154"/>
                <a:gd name="T95" fmla="*/ 1822 h 1928"/>
                <a:gd name="T96" fmla="*/ 156 w 1154"/>
                <a:gd name="T97" fmla="*/ 1703 h 1928"/>
                <a:gd name="T98" fmla="*/ 109 w 1154"/>
                <a:gd name="T99" fmla="*/ 1554 h 1928"/>
                <a:gd name="T100" fmla="*/ 66 w 1154"/>
                <a:gd name="T101" fmla="*/ 1396 h 1928"/>
                <a:gd name="T102" fmla="*/ 30 w 1154"/>
                <a:gd name="T103" fmla="*/ 1251 h 1928"/>
                <a:gd name="T104" fmla="*/ 8 w 1154"/>
                <a:gd name="T105" fmla="*/ 1139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54" h="1928">
                  <a:moveTo>
                    <a:pt x="8" y="1139"/>
                  </a:moveTo>
                  <a:lnTo>
                    <a:pt x="4" y="1099"/>
                  </a:lnTo>
                  <a:lnTo>
                    <a:pt x="2" y="1058"/>
                  </a:lnTo>
                  <a:lnTo>
                    <a:pt x="0" y="1016"/>
                  </a:lnTo>
                  <a:lnTo>
                    <a:pt x="0" y="973"/>
                  </a:lnTo>
                  <a:lnTo>
                    <a:pt x="1" y="930"/>
                  </a:lnTo>
                  <a:lnTo>
                    <a:pt x="3" y="885"/>
                  </a:lnTo>
                  <a:lnTo>
                    <a:pt x="7" y="841"/>
                  </a:lnTo>
                  <a:lnTo>
                    <a:pt x="12" y="798"/>
                  </a:lnTo>
                  <a:lnTo>
                    <a:pt x="17" y="754"/>
                  </a:lnTo>
                  <a:lnTo>
                    <a:pt x="23" y="710"/>
                  </a:lnTo>
                  <a:lnTo>
                    <a:pt x="31" y="667"/>
                  </a:lnTo>
                  <a:lnTo>
                    <a:pt x="39" y="626"/>
                  </a:lnTo>
                  <a:lnTo>
                    <a:pt x="47" y="585"/>
                  </a:lnTo>
                  <a:lnTo>
                    <a:pt x="57" y="545"/>
                  </a:lnTo>
                  <a:lnTo>
                    <a:pt x="67" y="507"/>
                  </a:lnTo>
                  <a:lnTo>
                    <a:pt x="76" y="471"/>
                  </a:lnTo>
                  <a:lnTo>
                    <a:pt x="87" y="437"/>
                  </a:lnTo>
                  <a:lnTo>
                    <a:pt x="98" y="405"/>
                  </a:lnTo>
                  <a:lnTo>
                    <a:pt x="111" y="372"/>
                  </a:lnTo>
                  <a:lnTo>
                    <a:pt x="124" y="340"/>
                  </a:lnTo>
                  <a:lnTo>
                    <a:pt x="139" y="309"/>
                  </a:lnTo>
                  <a:lnTo>
                    <a:pt x="155" y="277"/>
                  </a:lnTo>
                  <a:lnTo>
                    <a:pt x="172" y="248"/>
                  </a:lnTo>
                  <a:lnTo>
                    <a:pt x="191" y="219"/>
                  </a:lnTo>
                  <a:lnTo>
                    <a:pt x="211" y="191"/>
                  </a:lnTo>
                  <a:lnTo>
                    <a:pt x="233" y="164"/>
                  </a:lnTo>
                  <a:lnTo>
                    <a:pt x="256" y="138"/>
                  </a:lnTo>
                  <a:lnTo>
                    <a:pt x="279" y="114"/>
                  </a:lnTo>
                  <a:lnTo>
                    <a:pt x="292" y="103"/>
                  </a:lnTo>
                  <a:lnTo>
                    <a:pt x="305" y="93"/>
                  </a:lnTo>
                  <a:lnTo>
                    <a:pt x="318" y="82"/>
                  </a:lnTo>
                  <a:lnTo>
                    <a:pt x="332" y="71"/>
                  </a:lnTo>
                  <a:lnTo>
                    <a:pt x="346" y="62"/>
                  </a:lnTo>
                  <a:lnTo>
                    <a:pt x="360" y="53"/>
                  </a:lnTo>
                  <a:lnTo>
                    <a:pt x="376" y="44"/>
                  </a:lnTo>
                  <a:lnTo>
                    <a:pt x="391" y="36"/>
                  </a:lnTo>
                  <a:lnTo>
                    <a:pt x="409" y="28"/>
                  </a:lnTo>
                  <a:lnTo>
                    <a:pt x="427" y="20"/>
                  </a:lnTo>
                  <a:lnTo>
                    <a:pt x="446" y="14"/>
                  </a:lnTo>
                  <a:lnTo>
                    <a:pt x="464" y="8"/>
                  </a:lnTo>
                  <a:lnTo>
                    <a:pt x="483" y="5"/>
                  </a:lnTo>
                  <a:lnTo>
                    <a:pt x="503" y="2"/>
                  </a:lnTo>
                  <a:lnTo>
                    <a:pt x="522" y="0"/>
                  </a:lnTo>
                  <a:lnTo>
                    <a:pt x="541" y="0"/>
                  </a:lnTo>
                  <a:lnTo>
                    <a:pt x="560" y="0"/>
                  </a:lnTo>
                  <a:lnTo>
                    <a:pt x="580" y="1"/>
                  </a:lnTo>
                  <a:lnTo>
                    <a:pt x="599" y="3"/>
                  </a:lnTo>
                  <a:lnTo>
                    <a:pt x="618" y="7"/>
                  </a:lnTo>
                  <a:lnTo>
                    <a:pt x="638" y="12"/>
                  </a:lnTo>
                  <a:lnTo>
                    <a:pt x="657" y="17"/>
                  </a:lnTo>
                  <a:lnTo>
                    <a:pt x="676" y="23"/>
                  </a:lnTo>
                  <a:lnTo>
                    <a:pt x="695" y="31"/>
                  </a:lnTo>
                  <a:lnTo>
                    <a:pt x="712" y="40"/>
                  </a:lnTo>
                  <a:lnTo>
                    <a:pt x="730" y="48"/>
                  </a:lnTo>
                  <a:lnTo>
                    <a:pt x="746" y="57"/>
                  </a:lnTo>
                  <a:lnTo>
                    <a:pt x="761" y="67"/>
                  </a:lnTo>
                  <a:lnTo>
                    <a:pt x="775" y="75"/>
                  </a:lnTo>
                  <a:lnTo>
                    <a:pt x="789" y="86"/>
                  </a:lnTo>
                  <a:lnTo>
                    <a:pt x="803" y="96"/>
                  </a:lnTo>
                  <a:lnTo>
                    <a:pt x="816" y="107"/>
                  </a:lnTo>
                  <a:lnTo>
                    <a:pt x="840" y="128"/>
                  </a:lnTo>
                  <a:lnTo>
                    <a:pt x="864" y="150"/>
                  </a:lnTo>
                  <a:lnTo>
                    <a:pt x="885" y="171"/>
                  </a:lnTo>
                  <a:lnTo>
                    <a:pt x="906" y="193"/>
                  </a:lnTo>
                  <a:lnTo>
                    <a:pt x="928" y="219"/>
                  </a:lnTo>
                  <a:lnTo>
                    <a:pt x="950" y="245"/>
                  </a:lnTo>
                  <a:lnTo>
                    <a:pt x="971" y="274"/>
                  </a:lnTo>
                  <a:lnTo>
                    <a:pt x="990" y="303"/>
                  </a:lnTo>
                  <a:lnTo>
                    <a:pt x="1007" y="335"/>
                  </a:lnTo>
                  <a:lnTo>
                    <a:pt x="1025" y="367"/>
                  </a:lnTo>
                  <a:lnTo>
                    <a:pt x="1040" y="399"/>
                  </a:lnTo>
                  <a:lnTo>
                    <a:pt x="1054" y="433"/>
                  </a:lnTo>
                  <a:lnTo>
                    <a:pt x="1068" y="467"/>
                  </a:lnTo>
                  <a:lnTo>
                    <a:pt x="1080" y="502"/>
                  </a:lnTo>
                  <a:lnTo>
                    <a:pt x="1091" y="536"/>
                  </a:lnTo>
                  <a:lnTo>
                    <a:pt x="1102" y="571"/>
                  </a:lnTo>
                  <a:lnTo>
                    <a:pt x="1111" y="606"/>
                  </a:lnTo>
                  <a:lnTo>
                    <a:pt x="1120" y="640"/>
                  </a:lnTo>
                  <a:lnTo>
                    <a:pt x="1127" y="674"/>
                  </a:lnTo>
                  <a:lnTo>
                    <a:pt x="1135" y="706"/>
                  </a:lnTo>
                  <a:lnTo>
                    <a:pt x="1139" y="732"/>
                  </a:lnTo>
                  <a:lnTo>
                    <a:pt x="1142" y="760"/>
                  </a:lnTo>
                  <a:lnTo>
                    <a:pt x="1145" y="789"/>
                  </a:lnTo>
                  <a:lnTo>
                    <a:pt x="1149" y="821"/>
                  </a:lnTo>
                  <a:lnTo>
                    <a:pt x="1151" y="854"/>
                  </a:lnTo>
                  <a:lnTo>
                    <a:pt x="1153" y="889"/>
                  </a:lnTo>
                  <a:lnTo>
                    <a:pt x="1154" y="924"/>
                  </a:lnTo>
                  <a:lnTo>
                    <a:pt x="1154" y="962"/>
                  </a:lnTo>
                  <a:lnTo>
                    <a:pt x="1154" y="1039"/>
                  </a:lnTo>
                  <a:lnTo>
                    <a:pt x="1153" y="1120"/>
                  </a:lnTo>
                  <a:lnTo>
                    <a:pt x="1150" y="1203"/>
                  </a:lnTo>
                  <a:lnTo>
                    <a:pt x="1144" y="1287"/>
                  </a:lnTo>
                  <a:lnTo>
                    <a:pt x="1138" y="1370"/>
                  </a:lnTo>
                  <a:lnTo>
                    <a:pt x="1130" y="1453"/>
                  </a:lnTo>
                  <a:lnTo>
                    <a:pt x="1121" y="1533"/>
                  </a:lnTo>
                  <a:lnTo>
                    <a:pt x="1111" y="1611"/>
                  </a:lnTo>
                  <a:lnTo>
                    <a:pt x="1099" y="1683"/>
                  </a:lnTo>
                  <a:lnTo>
                    <a:pt x="1087" y="1749"/>
                  </a:lnTo>
                  <a:lnTo>
                    <a:pt x="1081" y="1781"/>
                  </a:lnTo>
                  <a:lnTo>
                    <a:pt x="1074" y="1810"/>
                  </a:lnTo>
                  <a:lnTo>
                    <a:pt x="1068" y="1837"/>
                  </a:lnTo>
                  <a:lnTo>
                    <a:pt x="1061" y="1862"/>
                  </a:lnTo>
                  <a:lnTo>
                    <a:pt x="1058" y="1872"/>
                  </a:lnTo>
                  <a:lnTo>
                    <a:pt x="1055" y="1881"/>
                  </a:lnTo>
                  <a:lnTo>
                    <a:pt x="1050" y="1890"/>
                  </a:lnTo>
                  <a:lnTo>
                    <a:pt x="1045" y="1897"/>
                  </a:lnTo>
                  <a:lnTo>
                    <a:pt x="1040" y="1904"/>
                  </a:lnTo>
                  <a:lnTo>
                    <a:pt x="1034" y="1910"/>
                  </a:lnTo>
                  <a:lnTo>
                    <a:pt x="1028" y="1915"/>
                  </a:lnTo>
                  <a:lnTo>
                    <a:pt x="1021" y="1919"/>
                  </a:lnTo>
                  <a:lnTo>
                    <a:pt x="1014" y="1922"/>
                  </a:lnTo>
                  <a:lnTo>
                    <a:pt x="1006" y="1924"/>
                  </a:lnTo>
                  <a:lnTo>
                    <a:pt x="998" y="1926"/>
                  </a:lnTo>
                  <a:lnTo>
                    <a:pt x="989" y="1928"/>
                  </a:lnTo>
                  <a:lnTo>
                    <a:pt x="979" y="1928"/>
                  </a:lnTo>
                  <a:lnTo>
                    <a:pt x="969" y="1928"/>
                  </a:lnTo>
                  <a:lnTo>
                    <a:pt x="959" y="1925"/>
                  </a:lnTo>
                  <a:lnTo>
                    <a:pt x="947" y="1924"/>
                  </a:lnTo>
                  <a:lnTo>
                    <a:pt x="881" y="1912"/>
                  </a:lnTo>
                  <a:lnTo>
                    <a:pt x="820" y="1904"/>
                  </a:lnTo>
                  <a:lnTo>
                    <a:pt x="764" y="1896"/>
                  </a:lnTo>
                  <a:lnTo>
                    <a:pt x="711" y="1890"/>
                  </a:lnTo>
                  <a:lnTo>
                    <a:pt x="661" y="1884"/>
                  </a:lnTo>
                  <a:lnTo>
                    <a:pt x="611" y="1881"/>
                  </a:lnTo>
                  <a:lnTo>
                    <a:pt x="560" y="1879"/>
                  </a:lnTo>
                  <a:lnTo>
                    <a:pt x="507" y="1879"/>
                  </a:lnTo>
                  <a:lnTo>
                    <a:pt x="447" y="1883"/>
                  </a:lnTo>
                  <a:lnTo>
                    <a:pt x="395" y="1889"/>
                  </a:lnTo>
                  <a:lnTo>
                    <a:pt x="350" y="1894"/>
                  </a:lnTo>
                  <a:lnTo>
                    <a:pt x="311" y="1897"/>
                  </a:lnTo>
                  <a:lnTo>
                    <a:pt x="293" y="1897"/>
                  </a:lnTo>
                  <a:lnTo>
                    <a:pt x="277" y="1896"/>
                  </a:lnTo>
                  <a:lnTo>
                    <a:pt x="263" y="1894"/>
                  </a:lnTo>
                  <a:lnTo>
                    <a:pt x="250" y="1890"/>
                  </a:lnTo>
                  <a:lnTo>
                    <a:pt x="245" y="1886"/>
                  </a:lnTo>
                  <a:lnTo>
                    <a:pt x="239" y="1883"/>
                  </a:lnTo>
                  <a:lnTo>
                    <a:pt x="234" y="1880"/>
                  </a:lnTo>
                  <a:lnTo>
                    <a:pt x="229" y="1876"/>
                  </a:lnTo>
                  <a:lnTo>
                    <a:pt x="224" y="1870"/>
                  </a:lnTo>
                  <a:lnTo>
                    <a:pt x="220" y="1865"/>
                  </a:lnTo>
                  <a:lnTo>
                    <a:pt x="216" y="1858"/>
                  </a:lnTo>
                  <a:lnTo>
                    <a:pt x="211" y="1852"/>
                  </a:lnTo>
                  <a:lnTo>
                    <a:pt x="199" y="1822"/>
                  </a:lnTo>
                  <a:lnTo>
                    <a:pt x="185" y="1787"/>
                  </a:lnTo>
                  <a:lnTo>
                    <a:pt x="171" y="1747"/>
                  </a:lnTo>
                  <a:lnTo>
                    <a:pt x="156" y="1703"/>
                  </a:lnTo>
                  <a:lnTo>
                    <a:pt x="140" y="1656"/>
                  </a:lnTo>
                  <a:lnTo>
                    <a:pt x="125" y="1606"/>
                  </a:lnTo>
                  <a:lnTo>
                    <a:pt x="109" y="1554"/>
                  </a:lnTo>
                  <a:lnTo>
                    <a:pt x="94" y="1502"/>
                  </a:lnTo>
                  <a:lnTo>
                    <a:pt x="80" y="1449"/>
                  </a:lnTo>
                  <a:lnTo>
                    <a:pt x="66" y="1396"/>
                  </a:lnTo>
                  <a:lnTo>
                    <a:pt x="52" y="1345"/>
                  </a:lnTo>
                  <a:lnTo>
                    <a:pt x="40" y="1297"/>
                  </a:lnTo>
                  <a:lnTo>
                    <a:pt x="30" y="1251"/>
                  </a:lnTo>
                  <a:lnTo>
                    <a:pt x="20" y="1209"/>
                  </a:lnTo>
                  <a:lnTo>
                    <a:pt x="14" y="1172"/>
                  </a:lnTo>
                  <a:lnTo>
                    <a:pt x="8" y="1139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1898409" y="4627859"/>
              <a:ext cx="239029" cy="255252"/>
            </a:xfrm>
            <a:custGeom>
              <a:avLst/>
              <a:gdLst>
                <a:gd name="T0" fmla="*/ 879 w 883"/>
                <a:gd name="T1" fmla="*/ 179 h 945"/>
                <a:gd name="T2" fmla="*/ 873 w 883"/>
                <a:gd name="T3" fmla="*/ 297 h 945"/>
                <a:gd name="T4" fmla="*/ 865 w 883"/>
                <a:gd name="T5" fmla="*/ 377 h 945"/>
                <a:gd name="T6" fmla="*/ 856 w 883"/>
                <a:gd name="T7" fmla="*/ 456 h 945"/>
                <a:gd name="T8" fmla="*/ 842 w 883"/>
                <a:gd name="T9" fmla="*/ 532 h 945"/>
                <a:gd name="T10" fmla="*/ 823 w 883"/>
                <a:gd name="T11" fmla="*/ 605 h 945"/>
                <a:gd name="T12" fmla="*/ 801 w 883"/>
                <a:gd name="T13" fmla="*/ 670 h 945"/>
                <a:gd name="T14" fmla="*/ 774 w 883"/>
                <a:gd name="T15" fmla="*/ 728 h 945"/>
                <a:gd name="T16" fmla="*/ 741 w 883"/>
                <a:gd name="T17" fmla="*/ 781 h 945"/>
                <a:gd name="T18" fmla="*/ 713 w 883"/>
                <a:gd name="T19" fmla="*/ 817 h 945"/>
                <a:gd name="T20" fmla="*/ 693 w 883"/>
                <a:gd name="T21" fmla="*/ 840 h 945"/>
                <a:gd name="T22" fmla="*/ 670 w 883"/>
                <a:gd name="T23" fmla="*/ 861 h 945"/>
                <a:gd name="T24" fmla="*/ 645 w 883"/>
                <a:gd name="T25" fmla="*/ 880 h 945"/>
                <a:gd name="T26" fmla="*/ 619 w 883"/>
                <a:gd name="T27" fmla="*/ 897 h 945"/>
                <a:gd name="T28" fmla="*/ 591 w 883"/>
                <a:gd name="T29" fmla="*/ 912 h 945"/>
                <a:gd name="T30" fmla="*/ 561 w 883"/>
                <a:gd name="T31" fmla="*/ 924 h 945"/>
                <a:gd name="T32" fmla="*/ 529 w 883"/>
                <a:gd name="T33" fmla="*/ 934 h 945"/>
                <a:gd name="T34" fmla="*/ 494 w 883"/>
                <a:gd name="T35" fmla="*/ 940 h 945"/>
                <a:gd name="T36" fmla="*/ 457 w 883"/>
                <a:gd name="T37" fmla="*/ 945 h 945"/>
                <a:gd name="T38" fmla="*/ 418 w 883"/>
                <a:gd name="T39" fmla="*/ 945 h 945"/>
                <a:gd name="T40" fmla="*/ 377 w 883"/>
                <a:gd name="T41" fmla="*/ 940 h 945"/>
                <a:gd name="T42" fmla="*/ 319 w 883"/>
                <a:gd name="T43" fmla="*/ 931 h 945"/>
                <a:gd name="T44" fmla="*/ 268 w 883"/>
                <a:gd name="T45" fmla="*/ 917 h 945"/>
                <a:gd name="T46" fmla="*/ 237 w 883"/>
                <a:gd name="T47" fmla="*/ 906 h 945"/>
                <a:gd name="T48" fmla="*/ 207 w 883"/>
                <a:gd name="T49" fmla="*/ 893 h 945"/>
                <a:gd name="T50" fmla="*/ 180 w 883"/>
                <a:gd name="T51" fmla="*/ 878 h 945"/>
                <a:gd name="T52" fmla="*/ 154 w 883"/>
                <a:gd name="T53" fmla="*/ 861 h 945"/>
                <a:gd name="T54" fmla="*/ 130 w 883"/>
                <a:gd name="T55" fmla="*/ 842 h 945"/>
                <a:gd name="T56" fmla="*/ 107 w 883"/>
                <a:gd name="T57" fmla="*/ 822 h 945"/>
                <a:gd name="T58" fmla="*/ 88 w 883"/>
                <a:gd name="T59" fmla="*/ 799 h 945"/>
                <a:gd name="T60" fmla="*/ 70 w 883"/>
                <a:gd name="T61" fmla="*/ 774 h 945"/>
                <a:gd name="T62" fmla="*/ 54 w 883"/>
                <a:gd name="T63" fmla="*/ 747 h 945"/>
                <a:gd name="T64" fmla="*/ 40 w 883"/>
                <a:gd name="T65" fmla="*/ 718 h 945"/>
                <a:gd name="T66" fmla="*/ 27 w 883"/>
                <a:gd name="T67" fmla="*/ 688 h 945"/>
                <a:gd name="T68" fmla="*/ 18 w 883"/>
                <a:gd name="T69" fmla="*/ 654 h 945"/>
                <a:gd name="T70" fmla="*/ 10 w 883"/>
                <a:gd name="T71" fmla="*/ 619 h 945"/>
                <a:gd name="T72" fmla="*/ 3 w 883"/>
                <a:gd name="T73" fmla="*/ 572 h 945"/>
                <a:gd name="T74" fmla="*/ 0 w 883"/>
                <a:gd name="T75" fmla="*/ 502 h 945"/>
                <a:gd name="T76" fmla="*/ 2 w 883"/>
                <a:gd name="T77" fmla="*/ 419 h 945"/>
                <a:gd name="T78" fmla="*/ 7 w 883"/>
                <a:gd name="T79" fmla="*/ 328 h 945"/>
                <a:gd name="T80" fmla="*/ 17 w 883"/>
                <a:gd name="T81" fmla="*/ 237 h 945"/>
                <a:gd name="T82" fmla="*/ 29 w 883"/>
                <a:gd name="T83" fmla="*/ 151 h 945"/>
                <a:gd name="T84" fmla="*/ 45 w 883"/>
                <a:gd name="T85" fmla="*/ 76 h 945"/>
                <a:gd name="T86" fmla="*/ 58 w 883"/>
                <a:gd name="T87" fmla="*/ 32 h 945"/>
                <a:gd name="T88" fmla="*/ 66 w 883"/>
                <a:gd name="T89" fmla="*/ 9 h 945"/>
                <a:gd name="T90" fmla="*/ 883 w 883"/>
                <a:gd name="T91" fmla="*/ 10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83" h="945">
                  <a:moveTo>
                    <a:pt x="883" y="105"/>
                  </a:moveTo>
                  <a:lnTo>
                    <a:pt x="879" y="179"/>
                  </a:lnTo>
                  <a:lnTo>
                    <a:pt x="875" y="257"/>
                  </a:lnTo>
                  <a:lnTo>
                    <a:pt x="873" y="297"/>
                  </a:lnTo>
                  <a:lnTo>
                    <a:pt x="870" y="337"/>
                  </a:lnTo>
                  <a:lnTo>
                    <a:pt x="865" y="377"/>
                  </a:lnTo>
                  <a:lnTo>
                    <a:pt x="861" y="417"/>
                  </a:lnTo>
                  <a:lnTo>
                    <a:pt x="856" y="456"/>
                  </a:lnTo>
                  <a:lnTo>
                    <a:pt x="849" y="494"/>
                  </a:lnTo>
                  <a:lnTo>
                    <a:pt x="842" y="532"/>
                  </a:lnTo>
                  <a:lnTo>
                    <a:pt x="833" y="569"/>
                  </a:lnTo>
                  <a:lnTo>
                    <a:pt x="823" y="605"/>
                  </a:lnTo>
                  <a:lnTo>
                    <a:pt x="814" y="638"/>
                  </a:lnTo>
                  <a:lnTo>
                    <a:pt x="801" y="670"/>
                  </a:lnTo>
                  <a:lnTo>
                    <a:pt x="788" y="701"/>
                  </a:lnTo>
                  <a:lnTo>
                    <a:pt x="774" y="728"/>
                  </a:lnTo>
                  <a:lnTo>
                    <a:pt x="759" y="755"/>
                  </a:lnTo>
                  <a:lnTo>
                    <a:pt x="741" y="781"/>
                  </a:lnTo>
                  <a:lnTo>
                    <a:pt x="723" y="805"/>
                  </a:lnTo>
                  <a:lnTo>
                    <a:pt x="713" y="817"/>
                  </a:lnTo>
                  <a:lnTo>
                    <a:pt x="702" y="828"/>
                  </a:lnTo>
                  <a:lnTo>
                    <a:pt x="693" y="840"/>
                  </a:lnTo>
                  <a:lnTo>
                    <a:pt x="681" y="851"/>
                  </a:lnTo>
                  <a:lnTo>
                    <a:pt x="670" y="861"/>
                  </a:lnTo>
                  <a:lnTo>
                    <a:pt x="658" y="870"/>
                  </a:lnTo>
                  <a:lnTo>
                    <a:pt x="645" y="880"/>
                  </a:lnTo>
                  <a:lnTo>
                    <a:pt x="632" y="889"/>
                  </a:lnTo>
                  <a:lnTo>
                    <a:pt x="619" y="897"/>
                  </a:lnTo>
                  <a:lnTo>
                    <a:pt x="605" y="905"/>
                  </a:lnTo>
                  <a:lnTo>
                    <a:pt x="591" y="912"/>
                  </a:lnTo>
                  <a:lnTo>
                    <a:pt x="576" y="919"/>
                  </a:lnTo>
                  <a:lnTo>
                    <a:pt x="561" y="924"/>
                  </a:lnTo>
                  <a:lnTo>
                    <a:pt x="545" y="930"/>
                  </a:lnTo>
                  <a:lnTo>
                    <a:pt x="529" y="934"/>
                  </a:lnTo>
                  <a:lnTo>
                    <a:pt x="511" y="938"/>
                  </a:lnTo>
                  <a:lnTo>
                    <a:pt x="494" y="940"/>
                  </a:lnTo>
                  <a:lnTo>
                    <a:pt x="476" y="943"/>
                  </a:lnTo>
                  <a:lnTo>
                    <a:pt x="457" y="945"/>
                  </a:lnTo>
                  <a:lnTo>
                    <a:pt x="438" y="945"/>
                  </a:lnTo>
                  <a:lnTo>
                    <a:pt x="418" y="945"/>
                  </a:lnTo>
                  <a:lnTo>
                    <a:pt x="398" y="944"/>
                  </a:lnTo>
                  <a:lnTo>
                    <a:pt x="377" y="940"/>
                  </a:lnTo>
                  <a:lnTo>
                    <a:pt x="356" y="938"/>
                  </a:lnTo>
                  <a:lnTo>
                    <a:pt x="319" y="931"/>
                  </a:lnTo>
                  <a:lnTo>
                    <a:pt x="284" y="922"/>
                  </a:lnTo>
                  <a:lnTo>
                    <a:pt x="268" y="917"/>
                  </a:lnTo>
                  <a:lnTo>
                    <a:pt x="252" y="911"/>
                  </a:lnTo>
                  <a:lnTo>
                    <a:pt x="237" y="906"/>
                  </a:lnTo>
                  <a:lnTo>
                    <a:pt x="222" y="899"/>
                  </a:lnTo>
                  <a:lnTo>
                    <a:pt x="207" y="893"/>
                  </a:lnTo>
                  <a:lnTo>
                    <a:pt x="193" y="885"/>
                  </a:lnTo>
                  <a:lnTo>
                    <a:pt x="180" y="878"/>
                  </a:lnTo>
                  <a:lnTo>
                    <a:pt x="167" y="869"/>
                  </a:lnTo>
                  <a:lnTo>
                    <a:pt x="154" y="861"/>
                  </a:lnTo>
                  <a:lnTo>
                    <a:pt x="142" y="852"/>
                  </a:lnTo>
                  <a:lnTo>
                    <a:pt x="130" y="842"/>
                  </a:lnTo>
                  <a:lnTo>
                    <a:pt x="118" y="831"/>
                  </a:lnTo>
                  <a:lnTo>
                    <a:pt x="107" y="822"/>
                  </a:lnTo>
                  <a:lnTo>
                    <a:pt x="98" y="810"/>
                  </a:lnTo>
                  <a:lnTo>
                    <a:pt x="88" y="799"/>
                  </a:lnTo>
                  <a:lnTo>
                    <a:pt x="78" y="786"/>
                  </a:lnTo>
                  <a:lnTo>
                    <a:pt x="70" y="774"/>
                  </a:lnTo>
                  <a:lnTo>
                    <a:pt x="62" y="761"/>
                  </a:lnTo>
                  <a:lnTo>
                    <a:pt x="54" y="747"/>
                  </a:lnTo>
                  <a:lnTo>
                    <a:pt x="47" y="733"/>
                  </a:lnTo>
                  <a:lnTo>
                    <a:pt x="40" y="718"/>
                  </a:lnTo>
                  <a:lnTo>
                    <a:pt x="34" y="703"/>
                  </a:lnTo>
                  <a:lnTo>
                    <a:pt x="27" y="688"/>
                  </a:lnTo>
                  <a:lnTo>
                    <a:pt x="23" y="672"/>
                  </a:lnTo>
                  <a:lnTo>
                    <a:pt x="18" y="654"/>
                  </a:lnTo>
                  <a:lnTo>
                    <a:pt x="13" y="637"/>
                  </a:lnTo>
                  <a:lnTo>
                    <a:pt x="10" y="619"/>
                  </a:lnTo>
                  <a:lnTo>
                    <a:pt x="7" y="600"/>
                  </a:lnTo>
                  <a:lnTo>
                    <a:pt x="3" y="572"/>
                  </a:lnTo>
                  <a:lnTo>
                    <a:pt x="0" y="539"/>
                  </a:lnTo>
                  <a:lnTo>
                    <a:pt x="0" y="502"/>
                  </a:lnTo>
                  <a:lnTo>
                    <a:pt x="0" y="461"/>
                  </a:lnTo>
                  <a:lnTo>
                    <a:pt x="2" y="419"/>
                  </a:lnTo>
                  <a:lnTo>
                    <a:pt x="4" y="373"/>
                  </a:lnTo>
                  <a:lnTo>
                    <a:pt x="7" y="328"/>
                  </a:lnTo>
                  <a:lnTo>
                    <a:pt x="11" y="283"/>
                  </a:lnTo>
                  <a:lnTo>
                    <a:pt x="17" y="237"/>
                  </a:lnTo>
                  <a:lnTo>
                    <a:pt x="22" y="193"/>
                  </a:lnTo>
                  <a:lnTo>
                    <a:pt x="29" y="151"/>
                  </a:lnTo>
                  <a:lnTo>
                    <a:pt x="36" y="112"/>
                  </a:lnTo>
                  <a:lnTo>
                    <a:pt x="45" y="76"/>
                  </a:lnTo>
                  <a:lnTo>
                    <a:pt x="52" y="46"/>
                  </a:lnTo>
                  <a:lnTo>
                    <a:pt x="58" y="32"/>
                  </a:lnTo>
                  <a:lnTo>
                    <a:pt x="62" y="20"/>
                  </a:lnTo>
                  <a:lnTo>
                    <a:pt x="66" y="9"/>
                  </a:lnTo>
                  <a:lnTo>
                    <a:pt x="72" y="0"/>
                  </a:lnTo>
                  <a:lnTo>
                    <a:pt x="883" y="105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91"/>
          <p:cNvGrpSpPr/>
          <p:nvPr/>
        </p:nvGrpSpPr>
        <p:grpSpPr>
          <a:xfrm rot="1302564">
            <a:off x="4140560" y="2787225"/>
            <a:ext cx="267081" cy="716853"/>
            <a:chOff x="1257033" y="4512130"/>
            <a:chExt cx="311495" cy="836060"/>
          </a:xfrm>
        </p:grpSpPr>
        <p:sp>
          <p:nvSpPr>
            <p:cNvPr id="93" name="Freeform 11"/>
            <p:cNvSpPr>
              <a:spLocks/>
            </p:cNvSpPr>
            <p:nvPr/>
          </p:nvSpPr>
          <p:spPr bwMode="auto">
            <a:xfrm>
              <a:off x="1257033" y="4512130"/>
              <a:ext cx="311495" cy="521321"/>
            </a:xfrm>
            <a:custGeom>
              <a:avLst/>
              <a:gdLst>
                <a:gd name="T0" fmla="*/ 1153 w 1154"/>
                <a:gd name="T1" fmla="*/ 1059 h 1928"/>
                <a:gd name="T2" fmla="*/ 1153 w 1154"/>
                <a:gd name="T3" fmla="*/ 930 h 1928"/>
                <a:gd name="T4" fmla="*/ 1143 w 1154"/>
                <a:gd name="T5" fmla="*/ 798 h 1928"/>
                <a:gd name="T6" fmla="*/ 1124 w 1154"/>
                <a:gd name="T7" fmla="*/ 669 h 1928"/>
                <a:gd name="T8" fmla="*/ 1098 w 1154"/>
                <a:gd name="T9" fmla="*/ 546 h 1928"/>
                <a:gd name="T10" fmla="*/ 1068 w 1154"/>
                <a:gd name="T11" fmla="*/ 439 h 1928"/>
                <a:gd name="T12" fmla="*/ 1030 w 1154"/>
                <a:gd name="T13" fmla="*/ 340 h 1928"/>
                <a:gd name="T14" fmla="*/ 981 w 1154"/>
                <a:gd name="T15" fmla="*/ 249 h 1928"/>
                <a:gd name="T16" fmla="*/ 922 w 1154"/>
                <a:gd name="T17" fmla="*/ 164 h 1928"/>
                <a:gd name="T18" fmla="*/ 863 w 1154"/>
                <a:gd name="T19" fmla="*/ 104 h 1928"/>
                <a:gd name="T20" fmla="*/ 823 w 1154"/>
                <a:gd name="T21" fmla="*/ 73 h 1928"/>
                <a:gd name="T22" fmla="*/ 779 w 1154"/>
                <a:gd name="T23" fmla="*/ 46 h 1928"/>
                <a:gd name="T24" fmla="*/ 728 w 1154"/>
                <a:gd name="T25" fmla="*/ 21 h 1928"/>
                <a:gd name="T26" fmla="*/ 671 w 1154"/>
                <a:gd name="T27" fmla="*/ 6 h 1928"/>
                <a:gd name="T28" fmla="*/ 613 w 1154"/>
                <a:gd name="T29" fmla="*/ 0 h 1928"/>
                <a:gd name="T30" fmla="*/ 555 w 1154"/>
                <a:gd name="T31" fmla="*/ 4 h 1928"/>
                <a:gd name="T32" fmla="*/ 498 w 1154"/>
                <a:gd name="T33" fmla="*/ 17 h 1928"/>
                <a:gd name="T34" fmla="*/ 442 w 1154"/>
                <a:gd name="T35" fmla="*/ 40 h 1928"/>
                <a:gd name="T36" fmla="*/ 394 w 1154"/>
                <a:gd name="T37" fmla="*/ 67 h 1928"/>
                <a:gd name="T38" fmla="*/ 352 w 1154"/>
                <a:gd name="T39" fmla="*/ 96 h 1928"/>
                <a:gd name="T40" fmla="*/ 291 w 1154"/>
                <a:gd name="T41" fmla="*/ 150 h 1928"/>
                <a:gd name="T42" fmla="*/ 225 w 1154"/>
                <a:gd name="T43" fmla="*/ 219 h 1928"/>
                <a:gd name="T44" fmla="*/ 165 w 1154"/>
                <a:gd name="T45" fmla="*/ 304 h 1928"/>
                <a:gd name="T46" fmla="*/ 115 w 1154"/>
                <a:gd name="T47" fmla="*/ 400 h 1928"/>
                <a:gd name="T48" fmla="*/ 74 w 1154"/>
                <a:gd name="T49" fmla="*/ 502 h 1928"/>
                <a:gd name="T50" fmla="*/ 43 w 1154"/>
                <a:gd name="T51" fmla="*/ 606 h 1928"/>
                <a:gd name="T52" fmla="*/ 20 w 1154"/>
                <a:gd name="T53" fmla="*/ 708 h 1928"/>
                <a:gd name="T54" fmla="*/ 8 w 1154"/>
                <a:gd name="T55" fmla="*/ 790 h 1928"/>
                <a:gd name="T56" fmla="*/ 2 w 1154"/>
                <a:gd name="T57" fmla="*/ 889 h 1928"/>
                <a:gd name="T58" fmla="*/ 0 w 1154"/>
                <a:gd name="T59" fmla="*/ 1040 h 1928"/>
                <a:gd name="T60" fmla="*/ 11 w 1154"/>
                <a:gd name="T61" fmla="*/ 1288 h 1928"/>
                <a:gd name="T62" fmla="*/ 34 w 1154"/>
                <a:gd name="T63" fmla="*/ 1535 h 1928"/>
                <a:gd name="T64" fmla="*/ 67 w 1154"/>
                <a:gd name="T65" fmla="*/ 1751 h 1928"/>
                <a:gd name="T66" fmla="*/ 86 w 1154"/>
                <a:gd name="T67" fmla="*/ 1837 h 1928"/>
                <a:gd name="T68" fmla="*/ 100 w 1154"/>
                <a:gd name="T69" fmla="*/ 1882 h 1928"/>
                <a:gd name="T70" fmla="*/ 114 w 1154"/>
                <a:gd name="T71" fmla="*/ 1904 h 1928"/>
                <a:gd name="T72" fmla="*/ 134 w 1154"/>
                <a:gd name="T73" fmla="*/ 1919 h 1928"/>
                <a:gd name="T74" fmla="*/ 157 w 1154"/>
                <a:gd name="T75" fmla="*/ 1927 h 1928"/>
                <a:gd name="T76" fmla="*/ 185 w 1154"/>
                <a:gd name="T77" fmla="*/ 1928 h 1928"/>
                <a:gd name="T78" fmla="*/ 274 w 1154"/>
                <a:gd name="T79" fmla="*/ 1914 h 1928"/>
                <a:gd name="T80" fmla="*/ 442 w 1154"/>
                <a:gd name="T81" fmla="*/ 1890 h 1928"/>
                <a:gd name="T82" fmla="*/ 595 w 1154"/>
                <a:gd name="T83" fmla="*/ 1880 h 1928"/>
                <a:gd name="T84" fmla="*/ 760 w 1154"/>
                <a:gd name="T85" fmla="*/ 1890 h 1928"/>
                <a:gd name="T86" fmla="*/ 861 w 1154"/>
                <a:gd name="T87" fmla="*/ 1898 h 1928"/>
                <a:gd name="T88" fmla="*/ 904 w 1154"/>
                <a:gd name="T89" fmla="*/ 1890 h 1928"/>
                <a:gd name="T90" fmla="*/ 921 w 1154"/>
                <a:gd name="T91" fmla="*/ 1880 h 1928"/>
                <a:gd name="T92" fmla="*/ 935 w 1154"/>
                <a:gd name="T93" fmla="*/ 1865 h 1928"/>
                <a:gd name="T94" fmla="*/ 955 w 1154"/>
                <a:gd name="T95" fmla="*/ 1823 h 1928"/>
                <a:gd name="T96" fmla="*/ 999 w 1154"/>
                <a:gd name="T97" fmla="*/ 1704 h 1928"/>
                <a:gd name="T98" fmla="*/ 1045 w 1154"/>
                <a:gd name="T99" fmla="*/ 1555 h 1928"/>
                <a:gd name="T100" fmla="*/ 1089 w 1154"/>
                <a:gd name="T101" fmla="*/ 1398 h 1928"/>
                <a:gd name="T102" fmla="*/ 1125 w 1154"/>
                <a:gd name="T103" fmla="*/ 1252 h 1928"/>
                <a:gd name="T104" fmla="*/ 1145 w 1154"/>
                <a:gd name="T105" fmla="*/ 114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54" h="1928">
                  <a:moveTo>
                    <a:pt x="1145" y="1140"/>
                  </a:moveTo>
                  <a:lnTo>
                    <a:pt x="1150" y="1100"/>
                  </a:lnTo>
                  <a:lnTo>
                    <a:pt x="1153" y="1059"/>
                  </a:lnTo>
                  <a:lnTo>
                    <a:pt x="1154" y="1016"/>
                  </a:lnTo>
                  <a:lnTo>
                    <a:pt x="1154" y="973"/>
                  </a:lnTo>
                  <a:lnTo>
                    <a:pt x="1153" y="930"/>
                  </a:lnTo>
                  <a:lnTo>
                    <a:pt x="1151" y="886"/>
                  </a:lnTo>
                  <a:lnTo>
                    <a:pt x="1148" y="843"/>
                  </a:lnTo>
                  <a:lnTo>
                    <a:pt x="1143" y="798"/>
                  </a:lnTo>
                  <a:lnTo>
                    <a:pt x="1138" y="754"/>
                  </a:lnTo>
                  <a:lnTo>
                    <a:pt x="1131" y="711"/>
                  </a:lnTo>
                  <a:lnTo>
                    <a:pt x="1124" y="669"/>
                  </a:lnTo>
                  <a:lnTo>
                    <a:pt x="1116" y="627"/>
                  </a:lnTo>
                  <a:lnTo>
                    <a:pt x="1108" y="586"/>
                  </a:lnTo>
                  <a:lnTo>
                    <a:pt x="1098" y="546"/>
                  </a:lnTo>
                  <a:lnTo>
                    <a:pt x="1088" y="508"/>
                  </a:lnTo>
                  <a:lnTo>
                    <a:pt x="1077" y="471"/>
                  </a:lnTo>
                  <a:lnTo>
                    <a:pt x="1068" y="439"/>
                  </a:lnTo>
                  <a:lnTo>
                    <a:pt x="1056" y="405"/>
                  </a:lnTo>
                  <a:lnTo>
                    <a:pt x="1044" y="373"/>
                  </a:lnTo>
                  <a:lnTo>
                    <a:pt x="1030" y="340"/>
                  </a:lnTo>
                  <a:lnTo>
                    <a:pt x="1015" y="309"/>
                  </a:lnTo>
                  <a:lnTo>
                    <a:pt x="1000" y="279"/>
                  </a:lnTo>
                  <a:lnTo>
                    <a:pt x="981" y="249"/>
                  </a:lnTo>
                  <a:lnTo>
                    <a:pt x="963" y="219"/>
                  </a:lnTo>
                  <a:lnTo>
                    <a:pt x="944" y="191"/>
                  </a:lnTo>
                  <a:lnTo>
                    <a:pt x="922" y="164"/>
                  </a:lnTo>
                  <a:lnTo>
                    <a:pt x="899" y="139"/>
                  </a:lnTo>
                  <a:lnTo>
                    <a:pt x="876" y="115"/>
                  </a:lnTo>
                  <a:lnTo>
                    <a:pt x="863" y="104"/>
                  </a:lnTo>
                  <a:lnTo>
                    <a:pt x="850" y="93"/>
                  </a:lnTo>
                  <a:lnTo>
                    <a:pt x="837" y="82"/>
                  </a:lnTo>
                  <a:lnTo>
                    <a:pt x="823" y="73"/>
                  </a:lnTo>
                  <a:lnTo>
                    <a:pt x="809" y="63"/>
                  </a:lnTo>
                  <a:lnTo>
                    <a:pt x="795" y="53"/>
                  </a:lnTo>
                  <a:lnTo>
                    <a:pt x="779" y="46"/>
                  </a:lnTo>
                  <a:lnTo>
                    <a:pt x="764" y="37"/>
                  </a:lnTo>
                  <a:lnTo>
                    <a:pt x="746" y="28"/>
                  </a:lnTo>
                  <a:lnTo>
                    <a:pt x="728" y="21"/>
                  </a:lnTo>
                  <a:lnTo>
                    <a:pt x="709" y="14"/>
                  </a:lnTo>
                  <a:lnTo>
                    <a:pt x="690" y="10"/>
                  </a:lnTo>
                  <a:lnTo>
                    <a:pt x="671" y="6"/>
                  </a:lnTo>
                  <a:lnTo>
                    <a:pt x="652" y="2"/>
                  </a:lnTo>
                  <a:lnTo>
                    <a:pt x="633" y="0"/>
                  </a:lnTo>
                  <a:lnTo>
                    <a:pt x="613" y="0"/>
                  </a:lnTo>
                  <a:lnTo>
                    <a:pt x="594" y="0"/>
                  </a:lnTo>
                  <a:lnTo>
                    <a:pt x="574" y="1"/>
                  </a:lnTo>
                  <a:lnTo>
                    <a:pt x="555" y="4"/>
                  </a:lnTo>
                  <a:lnTo>
                    <a:pt x="536" y="8"/>
                  </a:lnTo>
                  <a:lnTo>
                    <a:pt x="517" y="12"/>
                  </a:lnTo>
                  <a:lnTo>
                    <a:pt x="498" y="17"/>
                  </a:lnTo>
                  <a:lnTo>
                    <a:pt x="478" y="24"/>
                  </a:lnTo>
                  <a:lnTo>
                    <a:pt x="460" y="31"/>
                  </a:lnTo>
                  <a:lnTo>
                    <a:pt x="442" y="40"/>
                  </a:lnTo>
                  <a:lnTo>
                    <a:pt x="425" y="49"/>
                  </a:lnTo>
                  <a:lnTo>
                    <a:pt x="409" y="57"/>
                  </a:lnTo>
                  <a:lnTo>
                    <a:pt x="394" y="67"/>
                  </a:lnTo>
                  <a:lnTo>
                    <a:pt x="379" y="77"/>
                  </a:lnTo>
                  <a:lnTo>
                    <a:pt x="365" y="87"/>
                  </a:lnTo>
                  <a:lnTo>
                    <a:pt x="352" y="96"/>
                  </a:lnTo>
                  <a:lnTo>
                    <a:pt x="339" y="107"/>
                  </a:lnTo>
                  <a:lnTo>
                    <a:pt x="314" y="129"/>
                  </a:lnTo>
                  <a:lnTo>
                    <a:pt x="291" y="150"/>
                  </a:lnTo>
                  <a:lnTo>
                    <a:pt x="270" y="172"/>
                  </a:lnTo>
                  <a:lnTo>
                    <a:pt x="248" y="195"/>
                  </a:lnTo>
                  <a:lnTo>
                    <a:pt x="225" y="219"/>
                  </a:lnTo>
                  <a:lnTo>
                    <a:pt x="204" y="246"/>
                  </a:lnTo>
                  <a:lnTo>
                    <a:pt x="184" y="274"/>
                  </a:lnTo>
                  <a:lnTo>
                    <a:pt x="165" y="304"/>
                  </a:lnTo>
                  <a:lnTo>
                    <a:pt x="148" y="335"/>
                  </a:lnTo>
                  <a:lnTo>
                    <a:pt x="130" y="367"/>
                  </a:lnTo>
                  <a:lnTo>
                    <a:pt x="115" y="400"/>
                  </a:lnTo>
                  <a:lnTo>
                    <a:pt x="100" y="433"/>
                  </a:lnTo>
                  <a:lnTo>
                    <a:pt x="87" y="468"/>
                  </a:lnTo>
                  <a:lnTo>
                    <a:pt x="74" y="502"/>
                  </a:lnTo>
                  <a:lnTo>
                    <a:pt x="63" y="537"/>
                  </a:lnTo>
                  <a:lnTo>
                    <a:pt x="53" y="571"/>
                  </a:lnTo>
                  <a:lnTo>
                    <a:pt x="43" y="606"/>
                  </a:lnTo>
                  <a:lnTo>
                    <a:pt x="34" y="641"/>
                  </a:lnTo>
                  <a:lnTo>
                    <a:pt x="27" y="674"/>
                  </a:lnTo>
                  <a:lnTo>
                    <a:pt x="20" y="708"/>
                  </a:lnTo>
                  <a:lnTo>
                    <a:pt x="16" y="732"/>
                  </a:lnTo>
                  <a:lnTo>
                    <a:pt x="12" y="760"/>
                  </a:lnTo>
                  <a:lnTo>
                    <a:pt x="8" y="790"/>
                  </a:lnTo>
                  <a:lnTo>
                    <a:pt x="6" y="821"/>
                  </a:lnTo>
                  <a:lnTo>
                    <a:pt x="4" y="854"/>
                  </a:lnTo>
                  <a:lnTo>
                    <a:pt x="2" y="889"/>
                  </a:lnTo>
                  <a:lnTo>
                    <a:pt x="1" y="925"/>
                  </a:lnTo>
                  <a:lnTo>
                    <a:pt x="0" y="962"/>
                  </a:lnTo>
                  <a:lnTo>
                    <a:pt x="0" y="1040"/>
                  </a:lnTo>
                  <a:lnTo>
                    <a:pt x="2" y="1120"/>
                  </a:lnTo>
                  <a:lnTo>
                    <a:pt x="5" y="1203"/>
                  </a:lnTo>
                  <a:lnTo>
                    <a:pt x="11" y="1288"/>
                  </a:lnTo>
                  <a:lnTo>
                    <a:pt x="17" y="1372"/>
                  </a:lnTo>
                  <a:lnTo>
                    <a:pt x="25" y="1454"/>
                  </a:lnTo>
                  <a:lnTo>
                    <a:pt x="34" y="1535"/>
                  </a:lnTo>
                  <a:lnTo>
                    <a:pt x="44" y="1612"/>
                  </a:lnTo>
                  <a:lnTo>
                    <a:pt x="55" y="1684"/>
                  </a:lnTo>
                  <a:lnTo>
                    <a:pt x="67" y="1751"/>
                  </a:lnTo>
                  <a:lnTo>
                    <a:pt x="73" y="1781"/>
                  </a:lnTo>
                  <a:lnTo>
                    <a:pt x="80" y="1810"/>
                  </a:lnTo>
                  <a:lnTo>
                    <a:pt x="86" y="1837"/>
                  </a:lnTo>
                  <a:lnTo>
                    <a:pt x="94" y="1862"/>
                  </a:lnTo>
                  <a:lnTo>
                    <a:pt x="97" y="1873"/>
                  </a:lnTo>
                  <a:lnTo>
                    <a:pt x="100" y="1882"/>
                  </a:lnTo>
                  <a:lnTo>
                    <a:pt x="104" y="1890"/>
                  </a:lnTo>
                  <a:lnTo>
                    <a:pt x="109" y="1898"/>
                  </a:lnTo>
                  <a:lnTo>
                    <a:pt x="114" y="1904"/>
                  </a:lnTo>
                  <a:lnTo>
                    <a:pt x="121" y="1911"/>
                  </a:lnTo>
                  <a:lnTo>
                    <a:pt x="126" y="1915"/>
                  </a:lnTo>
                  <a:lnTo>
                    <a:pt x="134" y="1919"/>
                  </a:lnTo>
                  <a:lnTo>
                    <a:pt x="140" y="1923"/>
                  </a:lnTo>
                  <a:lnTo>
                    <a:pt x="149" y="1926"/>
                  </a:lnTo>
                  <a:lnTo>
                    <a:pt x="157" y="1927"/>
                  </a:lnTo>
                  <a:lnTo>
                    <a:pt x="166" y="1928"/>
                  </a:lnTo>
                  <a:lnTo>
                    <a:pt x="176" y="1928"/>
                  </a:lnTo>
                  <a:lnTo>
                    <a:pt x="185" y="1928"/>
                  </a:lnTo>
                  <a:lnTo>
                    <a:pt x="196" y="1927"/>
                  </a:lnTo>
                  <a:lnTo>
                    <a:pt x="208" y="1925"/>
                  </a:lnTo>
                  <a:lnTo>
                    <a:pt x="274" y="1914"/>
                  </a:lnTo>
                  <a:lnTo>
                    <a:pt x="334" y="1904"/>
                  </a:lnTo>
                  <a:lnTo>
                    <a:pt x="391" y="1897"/>
                  </a:lnTo>
                  <a:lnTo>
                    <a:pt x="442" y="1890"/>
                  </a:lnTo>
                  <a:lnTo>
                    <a:pt x="493" y="1885"/>
                  </a:lnTo>
                  <a:lnTo>
                    <a:pt x="544" y="1882"/>
                  </a:lnTo>
                  <a:lnTo>
                    <a:pt x="595" y="1880"/>
                  </a:lnTo>
                  <a:lnTo>
                    <a:pt x="648" y="1879"/>
                  </a:lnTo>
                  <a:lnTo>
                    <a:pt x="708" y="1884"/>
                  </a:lnTo>
                  <a:lnTo>
                    <a:pt x="760" y="1890"/>
                  </a:lnTo>
                  <a:lnTo>
                    <a:pt x="805" y="1894"/>
                  </a:lnTo>
                  <a:lnTo>
                    <a:pt x="844" y="1898"/>
                  </a:lnTo>
                  <a:lnTo>
                    <a:pt x="861" y="1898"/>
                  </a:lnTo>
                  <a:lnTo>
                    <a:pt x="877" y="1897"/>
                  </a:lnTo>
                  <a:lnTo>
                    <a:pt x="891" y="1894"/>
                  </a:lnTo>
                  <a:lnTo>
                    <a:pt x="904" y="1890"/>
                  </a:lnTo>
                  <a:lnTo>
                    <a:pt x="910" y="1888"/>
                  </a:lnTo>
                  <a:lnTo>
                    <a:pt x="915" y="1884"/>
                  </a:lnTo>
                  <a:lnTo>
                    <a:pt x="921" y="1880"/>
                  </a:lnTo>
                  <a:lnTo>
                    <a:pt x="926" y="1876"/>
                  </a:lnTo>
                  <a:lnTo>
                    <a:pt x="931" y="1871"/>
                  </a:lnTo>
                  <a:lnTo>
                    <a:pt x="935" y="1865"/>
                  </a:lnTo>
                  <a:lnTo>
                    <a:pt x="939" y="1859"/>
                  </a:lnTo>
                  <a:lnTo>
                    <a:pt x="942" y="1852"/>
                  </a:lnTo>
                  <a:lnTo>
                    <a:pt x="955" y="1823"/>
                  </a:lnTo>
                  <a:lnTo>
                    <a:pt x="969" y="1788"/>
                  </a:lnTo>
                  <a:lnTo>
                    <a:pt x="984" y="1748"/>
                  </a:lnTo>
                  <a:lnTo>
                    <a:pt x="999" y="1704"/>
                  </a:lnTo>
                  <a:lnTo>
                    <a:pt x="1014" y="1657"/>
                  </a:lnTo>
                  <a:lnTo>
                    <a:pt x="1030" y="1607"/>
                  </a:lnTo>
                  <a:lnTo>
                    <a:pt x="1045" y="1555"/>
                  </a:lnTo>
                  <a:lnTo>
                    <a:pt x="1060" y="1502"/>
                  </a:lnTo>
                  <a:lnTo>
                    <a:pt x="1075" y="1450"/>
                  </a:lnTo>
                  <a:lnTo>
                    <a:pt x="1089" y="1398"/>
                  </a:lnTo>
                  <a:lnTo>
                    <a:pt x="1102" y="1346"/>
                  </a:lnTo>
                  <a:lnTo>
                    <a:pt x="1114" y="1297"/>
                  </a:lnTo>
                  <a:lnTo>
                    <a:pt x="1125" y="1252"/>
                  </a:lnTo>
                  <a:lnTo>
                    <a:pt x="1134" y="1210"/>
                  </a:lnTo>
                  <a:lnTo>
                    <a:pt x="1141" y="1172"/>
                  </a:lnTo>
                  <a:lnTo>
                    <a:pt x="1145" y="114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2"/>
            <p:cNvSpPr>
              <a:spLocks/>
            </p:cNvSpPr>
            <p:nvPr/>
          </p:nvSpPr>
          <p:spPr bwMode="auto">
            <a:xfrm>
              <a:off x="1302459" y="5092938"/>
              <a:ext cx="237947" cy="255252"/>
            </a:xfrm>
            <a:custGeom>
              <a:avLst/>
              <a:gdLst>
                <a:gd name="T0" fmla="*/ 2 w 882"/>
                <a:gd name="T1" fmla="*/ 178 h 944"/>
                <a:gd name="T2" fmla="*/ 10 w 882"/>
                <a:gd name="T3" fmla="*/ 296 h 944"/>
                <a:gd name="T4" fmla="*/ 16 w 882"/>
                <a:gd name="T5" fmla="*/ 376 h 944"/>
                <a:gd name="T6" fmla="*/ 27 w 882"/>
                <a:gd name="T7" fmla="*/ 456 h 944"/>
                <a:gd name="T8" fmla="*/ 41 w 882"/>
                <a:gd name="T9" fmla="*/ 532 h 944"/>
                <a:gd name="T10" fmla="*/ 58 w 882"/>
                <a:gd name="T11" fmla="*/ 604 h 944"/>
                <a:gd name="T12" fmla="*/ 81 w 882"/>
                <a:gd name="T13" fmla="*/ 670 h 944"/>
                <a:gd name="T14" fmla="*/ 109 w 882"/>
                <a:gd name="T15" fmla="*/ 728 h 944"/>
                <a:gd name="T16" fmla="*/ 142 w 882"/>
                <a:gd name="T17" fmla="*/ 780 h 944"/>
                <a:gd name="T18" fmla="*/ 170 w 882"/>
                <a:gd name="T19" fmla="*/ 817 h 944"/>
                <a:gd name="T20" fmla="*/ 190 w 882"/>
                <a:gd name="T21" fmla="*/ 839 h 944"/>
                <a:gd name="T22" fmla="*/ 213 w 882"/>
                <a:gd name="T23" fmla="*/ 860 h 944"/>
                <a:gd name="T24" fmla="*/ 238 w 882"/>
                <a:gd name="T25" fmla="*/ 879 h 944"/>
                <a:gd name="T26" fmla="*/ 264 w 882"/>
                <a:gd name="T27" fmla="*/ 897 h 944"/>
                <a:gd name="T28" fmla="*/ 292 w 882"/>
                <a:gd name="T29" fmla="*/ 912 h 944"/>
                <a:gd name="T30" fmla="*/ 322 w 882"/>
                <a:gd name="T31" fmla="*/ 924 h 944"/>
                <a:gd name="T32" fmla="*/ 354 w 882"/>
                <a:gd name="T33" fmla="*/ 933 h 944"/>
                <a:gd name="T34" fmla="*/ 389 w 882"/>
                <a:gd name="T35" fmla="*/ 941 h 944"/>
                <a:gd name="T36" fmla="*/ 426 w 882"/>
                <a:gd name="T37" fmla="*/ 944 h 944"/>
                <a:gd name="T38" fmla="*/ 465 w 882"/>
                <a:gd name="T39" fmla="*/ 944 h 944"/>
                <a:gd name="T40" fmla="*/ 506 w 882"/>
                <a:gd name="T41" fmla="*/ 941 h 944"/>
                <a:gd name="T42" fmla="*/ 563 w 882"/>
                <a:gd name="T43" fmla="*/ 930 h 944"/>
                <a:gd name="T44" fmla="*/ 615 w 882"/>
                <a:gd name="T45" fmla="*/ 916 h 944"/>
                <a:gd name="T46" fmla="*/ 646 w 882"/>
                <a:gd name="T47" fmla="*/ 905 h 944"/>
                <a:gd name="T48" fmla="*/ 675 w 882"/>
                <a:gd name="T49" fmla="*/ 892 h 944"/>
                <a:gd name="T50" fmla="*/ 703 w 882"/>
                <a:gd name="T51" fmla="*/ 877 h 944"/>
                <a:gd name="T52" fmla="*/ 729 w 882"/>
                <a:gd name="T53" fmla="*/ 860 h 944"/>
                <a:gd name="T54" fmla="*/ 753 w 882"/>
                <a:gd name="T55" fmla="*/ 842 h 944"/>
                <a:gd name="T56" fmla="*/ 774 w 882"/>
                <a:gd name="T57" fmla="*/ 821 h 944"/>
                <a:gd name="T58" fmla="*/ 795 w 882"/>
                <a:gd name="T59" fmla="*/ 798 h 944"/>
                <a:gd name="T60" fmla="*/ 812 w 882"/>
                <a:gd name="T61" fmla="*/ 774 h 944"/>
                <a:gd name="T62" fmla="*/ 828 w 882"/>
                <a:gd name="T63" fmla="*/ 747 h 944"/>
                <a:gd name="T64" fmla="*/ 843 w 882"/>
                <a:gd name="T65" fmla="*/ 718 h 944"/>
                <a:gd name="T66" fmla="*/ 854 w 882"/>
                <a:gd name="T67" fmla="*/ 687 h 944"/>
                <a:gd name="T68" fmla="*/ 865 w 882"/>
                <a:gd name="T69" fmla="*/ 654 h 944"/>
                <a:gd name="T70" fmla="*/ 873 w 882"/>
                <a:gd name="T71" fmla="*/ 619 h 944"/>
                <a:gd name="T72" fmla="*/ 879 w 882"/>
                <a:gd name="T73" fmla="*/ 572 h 944"/>
                <a:gd name="T74" fmla="*/ 882 w 882"/>
                <a:gd name="T75" fmla="*/ 501 h 944"/>
                <a:gd name="T76" fmla="*/ 881 w 882"/>
                <a:gd name="T77" fmla="*/ 418 h 944"/>
                <a:gd name="T78" fmla="*/ 875 w 882"/>
                <a:gd name="T79" fmla="*/ 328 h 944"/>
                <a:gd name="T80" fmla="*/ 866 w 882"/>
                <a:gd name="T81" fmla="*/ 237 h 944"/>
                <a:gd name="T82" fmla="*/ 853 w 882"/>
                <a:gd name="T83" fmla="*/ 151 h 944"/>
                <a:gd name="T84" fmla="*/ 838 w 882"/>
                <a:gd name="T85" fmla="*/ 77 h 944"/>
                <a:gd name="T86" fmla="*/ 825 w 882"/>
                <a:gd name="T87" fmla="*/ 32 h 944"/>
                <a:gd name="T88" fmla="*/ 816 w 882"/>
                <a:gd name="T89" fmla="*/ 9 h 944"/>
                <a:gd name="T90" fmla="*/ 0 w 882"/>
                <a:gd name="T91" fmla="*/ 104 h 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82" h="944">
                  <a:moveTo>
                    <a:pt x="0" y="104"/>
                  </a:moveTo>
                  <a:lnTo>
                    <a:pt x="2" y="178"/>
                  </a:lnTo>
                  <a:lnTo>
                    <a:pt x="7" y="257"/>
                  </a:lnTo>
                  <a:lnTo>
                    <a:pt x="10" y="296"/>
                  </a:lnTo>
                  <a:lnTo>
                    <a:pt x="13" y="336"/>
                  </a:lnTo>
                  <a:lnTo>
                    <a:pt x="16" y="376"/>
                  </a:lnTo>
                  <a:lnTo>
                    <a:pt x="22" y="416"/>
                  </a:lnTo>
                  <a:lnTo>
                    <a:pt x="27" y="456"/>
                  </a:lnTo>
                  <a:lnTo>
                    <a:pt x="34" y="494"/>
                  </a:lnTo>
                  <a:lnTo>
                    <a:pt x="41" y="532"/>
                  </a:lnTo>
                  <a:lnTo>
                    <a:pt x="49" y="568"/>
                  </a:lnTo>
                  <a:lnTo>
                    <a:pt x="58" y="604"/>
                  </a:lnTo>
                  <a:lnTo>
                    <a:pt x="69" y="639"/>
                  </a:lnTo>
                  <a:lnTo>
                    <a:pt x="81" y="670"/>
                  </a:lnTo>
                  <a:lnTo>
                    <a:pt x="95" y="700"/>
                  </a:lnTo>
                  <a:lnTo>
                    <a:pt x="109" y="728"/>
                  </a:lnTo>
                  <a:lnTo>
                    <a:pt x="124" y="754"/>
                  </a:lnTo>
                  <a:lnTo>
                    <a:pt x="142" y="780"/>
                  </a:lnTo>
                  <a:lnTo>
                    <a:pt x="160" y="805"/>
                  </a:lnTo>
                  <a:lnTo>
                    <a:pt x="170" y="817"/>
                  </a:lnTo>
                  <a:lnTo>
                    <a:pt x="179" y="828"/>
                  </a:lnTo>
                  <a:lnTo>
                    <a:pt x="190" y="839"/>
                  </a:lnTo>
                  <a:lnTo>
                    <a:pt x="201" y="850"/>
                  </a:lnTo>
                  <a:lnTo>
                    <a:pt x="213" y="860"/>
                  </a:lnTo>
                  <a:lnTo>
                    <a:pt x="225" y="870"/>
                  </a:lnTo>
                  <a:lnTo>
                    <a:pt x="238" y="879"/>
                  </a:lnTo>
                  <a:lnTo>
                    <a:pt x="251" y="888"/>
                  </a:lnTo>
                  <a:lnTo>
                    <a:pt x="264" y="897"/>
                  </a:lnTo>
                  <a:lnTo>
                    <a:pt x="278" y="904"/>
                  </a:lnTo>
                  <a:lnTo>
                    <a:pt x="292" y="912"/>
                  </a:lnTo>
                  <a:lnTo>
                    <a:pt x="307" y="918"/>
                  </a:lnTo>
                  <a:lnTo>
                    <a:pt x="322" y="924"/>
                  </a:lnTo>
                  <a:lnTo>
                    <a:pt x="338" y="929"/>
                  </a:lnTo>
                  <a:lnTo>
                    <a:pt x="354" y="933"/>
                  </a:lnTo>
                  <a:lnTo>
                    <a:pt x="372" y="938"/>
                  </a:lnTo>
                  <a:lnTo>
                    <a:pt x="389" y="941"/>
                  </a:lnTo>
                  <a:lnTo>
                    <a:pt x="406" y="943"/>
                  </a:lnTo>
                  <a:lnTo>
                    <a:pt x="426" y="944"/>
                  </a:lnTo>
                  <a:lnTo>
                    <a:pt x="444" y="944"/>
                  </a:lnTo>
                  <a:lnTo>
                    <a:pt x="465" y="944"/>
                  </a:lnTo>
                  <a:lnTo>
                    <a:pt x="484" y="943"/>
                  </a:lnTo>
                  <a:lnTo>
                    <a:pt x="506" y="941"/>
                  </a:lnTo>
                  <a:lnTo>
                    <a:pt x="527" y="938"/>
                  </a:lnTo>
                  <a:lnTo>
                    <a:pt x="563" y="930"/>
                  </a:lnTo>
                  <a:lnTo>
                    <a:pt x="597" y="922"/>
                  </a:lnTo>
                  <a:lnTo>
                    <a:pt x="615" y="916"/>
                  </a:lnTo>
                  <a:lnTo>
                    <a:pt x="630" y="911"/>
                  </a:lnTo>
                  <a:lnTo>
                    <a:pt x="646" y="905"/>
                  </a:lnTo>
                  <a:lnTo>
                    <a:pt x="661" y="899"/>
                  </a:lnTo>
                  <a:lnTo>
                    <a:pt x="675" y="892"/>
                  </a:lnTo>
                  <a:lnTo>
                    <a:pt x="689" y="885"/>
                  </a:lnTo>
                  <a:lnTo>
                    <a:pt x="703" y="877"/>
                  </a:lnTo>
                  <a:lnTo>
                    <a:pt x="716" y="869"/>
                  </a:lnTo>
                  <a:lnTo>
                    <a:pt x="729" y="860"/>
                  </a:lnTo>
                  <a:lnTo>
                    <a:pt x="741" y="851"/>
                  </a:lnTo>
                  <a:lnTo>
                    <a:pt x="753" y="842"/>
                  </a:lnTo>
                  <a:lnTo>
                    <a:pt x="764" y="832"/>
                  </a:lnTo>
                  <a:lnTo>
                    <a:pt x="774" y="821"/>
                  </a:lnTo>
                  <a:lnTo>
                    <a:pt x="785" y="810"/>
                  </a:lnTo>
                  <a:lnTo>
                    <a:pt x="795" y="798"/>
                  </a:lnTo>
                  <a:lnTo>
                    <a:pt x="804" y="787"/>
                  </a:lnTo>
                  <a:lnTo>
                    <a:pt x="812" y="774"/>
                  </a:lnTo>
                  <a:lnTo>
                    <a:pt x="821" y="761"/>
                  </a:lnTo>
                  <a:lnTo>
                    <a:pt x="828" y="747"/>
                  </a:lnTo>
                  <a:lnTo>
                    <a:pt x="836" y="733"/>
                  </a:lnTo>
                  <a:lnTo>
                    <a:pt x="843" y="718"/>
                  </a:lnTo>
                  <a:lnTo>
                    <a:pt x="849" y="703"/>
                  </a:lnTo>
                  <a:lnTo>
                    <a:pt x="854" y="687"/>
                  </a:lnTo>
                  <a:lnTo>
                    <a:pt x="860" y="671"/>
                  </a:lnTo>
                  <a:lnTo>
                    <a:pt x="865" y="654"/>
                  </a:lnTo>
                  <a:lnTo>
                    <a:pt x="868" y="636"/>
                  </a:lnTo>
                  <a:lnTo>
                    <a:pt x="873" y="619"/>
                  </a:lnTo>
                  <a:lnTo>
                    <a:pt x="876" y="601"/>
                  </a:lnTo>
                  <a:lnTo>
                    <a:pt x="879" y="572"/>
                  </a:lnTo>
                  <a:lnTo>
                    <a:pt x="881" y="538"/>
                  </a:lnTo>
                  <a:lnTo>
                    <a:pt x="882" y="501"/>
                  </a:lnTo>
                  <a:lnTo>
                    <a:pt x="882" y="461"/>
                  </a:lnTo>
                  <a:lnTo>
                    <a:pt x="881" y="418"/>
                  </a:lnTo>
                  <a:lnTo>
                    <a:pt x="879" y="373"/>
                  </a:lnTo>
                  <a:lnTo>
                    <a:pt x="875" y="328"/>
                  </a:lnTo>
                  <a:lnTo>
                    <a:pt x="872" y="282"/>
                  </a:lnTo>
                  <a:lnTo>
                    <a:pt x="866" y="237"/>
                  </a:lnTo>
                  <a:lnTo>
                    <a:pt x="860" y="193"/>
                  </a:lnTo>
                  <a:lnTo>
                    <a:pt x="853" y="151"/>
                  </a:lnTo>
                  <a:lnTo>
                    <a:pt x="846" y="112"/>
                  </a:lnTo>
                  <a:lnTo>
                    <a:pt x="838" y="77"/>
                  </a:lnTo>
                  <a:lnTo>
                    <a:pt x="830" y="46"/>
                  </a:lnTo>
                  <a:lnTo>
                    <a:pt x="825" y="32"/>
                  </a:lnTo>
                  <a:lnTo>
                    <a:pt x="821" y="20"/>
                  </a:lnTo>
                  <a:lnTo>
                    <a:pt x="816" y="9"/>
                  </a:lnTo>
                  <a:lnTo>
                    <a:pt x="811" y="0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94"/>
          <p:cNvGrpSpPr/>
          <p:nvPr/>
        </p:nvGrpSpPr>
        <p:grpSpPr>
          <a:xfrm rot="1228518">
            <a:off x="5511758" y="2200240"/>
            <a:ext cx="268008" cy="716853"/>
            <a:chOff x="1870288" y="4047051"/>
            <a:chExt cx="312576" cy="836060"/>
          </a:xfrm>
        </p:grpSpPr>
        <p:sp>
          <p:nvSpPr>
            <p:cNvPr id="96" name="Freeform 13"/>
            <p:cNvSpPr>
              <a:spLocks/>
            </p:cNvSpPr>
            <p:nvPr/>
          </p:nvSpPr>
          <p:spPr bwMode="auto">
            <a:xfrm>
              <a:off x="1870288" y="4047051"/>
              <a:ext cx="312576" cy="521321"/>
            </a:xfrm>
            <a:custGeom>
              <a:avLst/>
              <a:gdLst>
                <a:gd name="T0" fmla="*/ 2 w 1154"/>
                <a:gd name="T1" fmla="*/ 1058 h 1928"/>
                <a:gd name="T2" fmla="*/ 1 w 1154"/>
                <a:gd name="T3" fmla="*/ 930 h 1928"/>
                <a:gd name="T4" fmla="*/ 12 w 1154"/>
                <a:gd name="T5" fmla="*/ 798 h 1928"/>
                <a:gd name="T6" fmla="*/ 31 w 1154"/>
                <a:gd name="T7" fmla="*/ 667 h 1928"/>
                <a:gd name="T8" fmla="*/ 57 w 1154"/>
                <a:gd name="T9" fmla="*/ 545 h 1928"/>
                <a:gd name="T10" fmla="*/ 87 w 1154"/>
                <a:gd name="T11" fmla="*/ 437 h 1928"/>
                <a:gd name="T12" fmla="*/ 124 w 1154"/>
                <a:gd name="T13" fmla="*/ 340 h 1928"/>
                <a:gd name="T14" fmla="*/ 172 w 1154"/>
                <a:gd name="T15" fmla="*/ 248 h 1928"/>
                <a:gd name="T16" fmla="*/ 233 w 1154"/>
                <a:gd name="T17" fmla="*/ 164 h 1928"/>
                <a:gd name="T18" fmla="*/ 292 w 1154"/>
                <a:gd name="T19" fmla="*/ 103 h 1928"/>
                <a:gd name="T20" fmla="*/ 332 w 1154"/>
                <a:gd name="T21" fmla="*/ 71 h 1928"/>
                <a:gd name="T22" fmla="*/ 376 w 1154"/>
                <a:gd name="T23" fmla="*/ 44 h 1928"/>
                <a:gd name="T24" fmla="*/ 427 w 1154"/>
                <a:gd name="T25" fmla="*/ 20 h 1928"/>
                <a:gd name="T26" fmla="*/ 483 w 1154"/>
                <a:gd name="T27" fmla="*/ 5 h 1928"/>
                <a:gd name="T28" fmla="*/ 541 w 1154"/>
                <a:gd name="T29" fmla="*/ 0 h 1928"/>
                <a:gd name="T30" fmla="*/ 599 w 1154"/>
                <a:gd name="T31" fmla="*/ 3 h 1928"/>
                <a:gd name="T32" fmla="*/ 657 w 1154"/>
                <a:gd name="T33" fmla="*/ 17 h 1928"/>
                <a:gd name="T34" fmla="*/ 712 w 1154"/>
                <a:gd name="T35" fmla="*/ 40 h 1928"/>
                <a:gd name="T36" fmla="*/ 761 w 1154"/>
                <a:gd name="T37" fmla="*/ 67 h 1928"/>
                <a:gd name="T38" fmla="*/ 803 w 1154"/>
                <a:gd name="T39" fmla="*/ 96 h 1928"/>
                <a:gd name="T40" fmla="*/ 864 w 1154"/>
                <a:gd name="T41" fmla="*/ 150 h 1928"/>
                <a:gd name="T42" fmla="*/ 928 w 1154"/>
                <a:gd name="T43" fmla="*/ 219 h 1928"/>
                <a:gd name="T44" fmla="*/ 990 w 1154"/>
                <a:gd name="T45" fmla="*/ 303 h 1928"/>
                <a:gd name="T46" fmla="*/ 1040 w 1154"/>
                <a:gd name="T47" fmla="*/ 399 h 1928"/>
                <a:gd name="T48" fmla="*/ 1080 w 1154"/>
                <a:gd name="T49" fmla="*/ 502 h 1928"/>
                <a:gd name="T50" fmla="*/ 1111 w 1154"/>
                <a:gd name="T51" fmla="*/ 606 h 1928"/>
                <a:gd name="T52" fmla="*/ 1135 w 1154"/>
                <a:gd name="T53" fmla="*/ 706 h 1928"/>
                <a:gd name="T54" fmla="*/ 1145 w 1154"/>
                <a:gd name="T55" fmla="*/ 789 h 1928"/>
                <a:gd name="T56" fmla="*/ 1153 w 1154"/>
                <a:gd name="T57" fmla="*/ 889 h 1928"/>
                <a:gd name="T58" fmla="*/ 1154 w 1154"/>
                <a:gd name="T59" fmla="*/ 1039 h 1928"/>
                <a:gd name="T60" fmla="*/ 1144 w 1154"/>
                <a:gd name="T61" fmla="*/ 1287 h 1928"/>
                <a:gd name="T62" fmla="*/ 1121 w 1154"/>
                <a:gd name="T63" fmla="*/ 1533 h 1928"/>
                <a:gd name="T64" fmla="*/ 1087 w 1154"/>
                <a:gd name="T65" fmla="*/ 1749 h 1928"/>
                <a:gd name="T66" fmla="*/ 1068 w 1154"/>
                <a:gd name="T67" fmla="*/ 1837 h 1928"/>
                <a:gd name="T68" fmla="*/ 1055 w 1154"/>
                <a:gd name="T69" fmla="*/ 1881 h 1928"/>
                <a:gd name="T70" fmla="*/ 1040 w 1154"/>
                <a:gd name="T71" fmla="*/ 1904 h 1928"/>
                <a:gd name="T72" fmla="*/ 1021 w 1154"/>
                <a:gd name="T73" fmla="*/ 1919 h 1928"/>
                <a:gd name="T74" fmla="*/ 998 w 1154"/>
                <a:gd name="T75" fmla="*/ 1926 h 1928"/>
                <a:gd name="T76" fmla="*/ 969 w 1154"/>
                <a:gd name="T77" fmla="*/ 1928 h 1928"/>
                <a:gd name="T78" fmla="*/ 881 w 1154"/>
                <a:gd name="T79" fmla="*/ 1912 h 1928"/>
                <a:gd name="T80" fmla="*/ 711 w 1154"/>
                <a:gd name="T81" fmla="*/ 1890 h 1928"/>
                <a:gd name="T82" fmla="*/ 560 w 1154"/>
                <a:gd name="T83" fmla="*/ 1879 h 1928"/>
                <a:gd name="T84" fmla="*/ 395 w 1154"/>
                <a:gd name="T85" fmla="*/ 1889 h 1928"/>
                <a:gd name="T86" fmla="*/ 293 w 1154"/>
                <a:gd name="T87" fmla="*/ 1897 h 1928"/>
                <a:gd name="T88" fmla="*/ 250 w 1154"/>
                <a:gd name="T89" fmla="*/ 1890 h 1928"/>
                <a:gd name="T90" fmla="*/ 234 w 1154"/>
                <a:gd name="T91" fmla="*/ 1880 h 1928"/>
                <a:gd name="T92" fmla="*/ 220 w 1154"/>
                <a:gd name="T93" fmla="*/ 1865 h 1928"/>
                <a:gd name="T94" fmla="*/ 199 w 1154"/>
                <a:gd name="T95" fmla="*/ 1822 h 1928"/>
                <a:gd name="T96" fmla="*/ 156 w 1154"/>
                <a:gd name="T97" fmla="*/ 1703 h 1928"/>
                <a:gd name="T98" fmla="*/ 109 w 1154"/>
                <a:gd name="T99" fmla="*/ 1554 h 1928"/>
                <a:gd name="T100" fmla="*/ 66 w 1154"/>
                <a:gd name="T101" fmla="*/ 1396 h 1928"/>
                <a:gd name="T102" fmla="*/ 30 w 1154"/>
                <a:gd name="T103" fmla="*/ 1251 h 1928"/>
                <a:gd name="T104" fmla="*/ 8 w 1154"/>
                <a:gd name="T105" fmla="*/ 1139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54" h="1928">
                  <a:moveTo>
                    <a:pt x="8" y="1139"/>
                  </a:moveTo>
                  <a:lnTo>
                    <a:pt x="4" y="1099"/>
                  </a:lnTo>
                  <a:lnTo>
                    <a:pt x="2" y="1058"/>
                  </a:lnTo>
                  <a:lnTo>
                    <a:pt x="0" y="1016"/>
                  </a:lnTo>
                  <a:lnTo>
                    <a:pt x="0" y="973"/>
                  </a:lnTo>
                  <a:lnTo>
                    <a:pt x="1" y="930"/>
                  </a:lnTo>
                  <a:lnTo>
                    <a:pt x="3" y="885"/>
                  </a:lnTo>
                  <a:lnTo>
                    <a:pt x="7" y="841"/>
                  </a:lnTo>
                  <a:lnTo>
                    <a:pt x="12" y="798"/>
                  </a:lnTo>
                  <a:lnTo>
                    <a:pt x="17" y="754"/>
                  </a:lnTo>
                  <a:lnTo>
                    <a:pt x="23" y="710"/>
                  </a:lnTo>
                  <a:lnTo>
                    <a:pt x="31" y="667"/>
                  </a:lnTo>
                  <a:lnTo>
                    <a:pt x="39" y="626"/>
                  </a:lnTo>
                  <a:lnTo>
                    <a:pt x="47" y="585"/>
                  </a:lnTo>
                  <a:lnTo>
                    <a:pt x="57" y="545"/>
                  </a:lnTo>
                  <a:lnTo>
                    <a:pt x="67" y="507"/>
                  </a:lnTo>
                  <a:lnTo>
                    <a:pt x="76" y="471"/>
                  </a:lnTo>
                  <a:lnTo>
                    <a:pt x="87" y="437"/>
                  </a:lnTo>
                  <a:lnTo>
                    <a:pt x="98" y="405"/>
                  </a:lnTo>
                  <a:lnTo>
                    <a:pt x="111" y="372"/>
                  </a:lnTo>
                  <a:lnTo>
                    <a:pt x="124" y="340"/>
                  </a:lnTo>
                  <a:lnTo>
                    <a:pt x="139" y="309"/>
                  </a:lnTo>
                  <a:lnTo>
                    <a:pt x="155" y="277"/>
                  </a:lnTo>
                  <a:lnTo>
                    <a:pt x="172" y="248"/>
                  </a:lnTo>
                  <a:lnTo>
                    <a:pt x="191" y="219"/>
                  </a:lnTo>
                  <a:lnTo>
                    <a:pt x="211" y="191"/>
                  </a:lnTo>
                  <a:lnTo>
                    <a:pt x="233" y="164"/>
                  </a:lnTo>
                  <a:lnTo>
                    <a:pt x="256" y="138"/>
                  </a:lnTo>
                  <a:lnTo>
                    <a:pt x="279" y="114"/>
                  </a:lnTo>
                  <a:lnTo>
                    <a:pt x="292" y="103"/>
                  </a:lnTo>
                  <a:lnTo>
                    <a:pt x="305" y="93"/>
                  </a:lnTo>
                  <a:lnTo>
                    <a:pt x="318" y="82"/>
                  </a:lnTo>
                  <a:lnTo>
                    <a:pt x="332" y="71"/>
                  </a:lnTo>
                  <a:lnTo>
                    <a:pt x="346" y="62"/>
                  </a:lnTo>
                  <a:lnTo>
                    <a:pt x="360" y="53"/>
                  </a:lnTo>
                  <a:lnTo>
                    <a:pt x="376" y="44"/>
                  </a:lnTo>
                  <a:lnTo>
                    <a:pt x="391" y="36"/>
                  </a:lnTo>
                  <a:lnTo>
                    <a:pt x="409" y="28"/>
                  </a:lnTo>
                  <a:lnTo>
                    <a:pt x="427" y="20"/>
                  </a:lnTo>
                  <a:lnTo>
                    <a:pt x="446" y="14"/>
                  </a:lnTo>
                  <a:lnTo>
                    <a:pt x="464" y="8"/>
                  </a:lnTo>
                  <a:lnTo>
                    <a:pt x="483" y="5"/>
                  </a:lnTo>
                  <a:lnTo>
                    <a:pt x="503" y="2"/>
                  </a:lnTo>
                  <a:lnTo>
                    <a:pt x="522" y="0"/>
                  </a:lnTo>
                  <a:lnTo>
                    <a:pt x="541" y="0"/>
                  </a:lnTo>
                  <a:lnTo>
                    <a:pt x="560" y="0"/>
                  </a:lnTo>
                  <a:lnTo>
                    <a:pt x="580" y="1"/>
                  </a:lnTo>
                  <a:lnTo>
                    <a:pt x="599" y="3"/>
                  </a:lnTo>
                  <a:lnTo>
                    <a:pt x="618" y="7"/>
                  </a:lnTo>
                  <a:lnTo>
                    <a:pt x="638" y="12"/>
                  </a:lnTo>
                  <a:lnTo>
                    <a:pt x="657" y="17"/>
                  </a:lnTo>
                  <a:lnTo>
                    <a:pt x="676" y="23"/>
                  </a:lnTo>
                  <a:lnTo>
                    <a:pt x="695" y="31"/>
                  </a:lnTo>
                  <a:lnTo>
                    <a:pt x="712" y="40"/>
                  </a:lnTo>
                  <a:lnTo>
                    <a:pt x="730" y="48"/>
                  </a:lnTo>
                  <a:lnTo>
                    <a:pt x="746" y="57"/>
                  </a:lnTo>
                  <a:lnTo>
                    <a:pt x="761" y="67"/>
                  </a:lnTo>
                  <a:lnTo>
                    <a:pt x="775" y="75"/>
                  </a:lnTo>
                  <a:lnTo>
                    <a:pt x="789" y="86"/>
                  </a:lnTo>
                  <a:lnTo>
                    <a:pt x="803" y="96"/>
                  </a:lnTo>
                  <a:lnTo>
                    <a:pt x="816" y="107"/>
                  </a:lnTo>
                  <a:lnTo>
                    <a:pt x="840" y="128"/>
                  </a:lnTo>
                  <a:lnTo>
                    <a:pt x="864" y="150"/>
                  </a:lnTo>
                  <a:lnTo>
                    <a:pt x="885" y="171"/>
                  </a:lnTo>
                  <a:lnTo>
                    <a:pt x="906" y="193"/>
                  </a:lnTo>
                  <a:lnTo>
                    <a:pt x="928" y="219"/>
                  </a:lnTo>
                  <a:lnTo>
                    <a:pt x="950" y="245"/>
                  </a:lnTo>
                  <a:lnTo>
                    <a:pt x="971" y="274"/>
                  </a:lnTo>
                  <a:lnTo>
                    <a:pt x="990" y="303"/>
                  </a:lnTo>
                  <a:lnTo>
                    <a:pt x="1007" y="335"/>
                  </a:lnTo>
                  <a:lnTo>
                    <a:pt x="1025" y="367"/>
                  </a:lnTo>
                  <a:lnTo>
                    <a:pt x="1040" y="399"/>
                  </a:lnTo>
                  <a:lnTo>
                    <a:pt x="1054" y="433"/>
                  </a:lnTo>
                  <a:lnTo>
                    <a:pt x="1068" y="467"/>
                  </a:lnTo>
                  <a:lnTo>
                    <a:pt x="1080" y="502"/>
                  </a:lnTo>
                  <a:lnTo>
                    <a:pt x="1091" y="536"/>
                  </a:lnTo>
                  <a:lnTo>
                    <a:pt x="1102" y="571"/>
                  </a:lnTo>
                  <a:lnTo>
                    <a:pt x="1111" y="606"/>
                  </a:lnTo>
                  <a:lnTo>
                    <a:pt x="1120" y="640"/>
                  </a:lnTo>
                  <a:lnTo>
                    <a:pt x="1127" y="674"/>
                  </a:lnTo>
                  <a:lnTo>
                    <a:pt x="1135" y="706"/>
                  </a:lnTo>
                  <a:lnTo>
                    <a:pt x="1139" y="732"/>
                  </a:lnTo>
                  <a:lnTo>
                    <a:pt x="1142" y="760"/>
                  </a:lnTo>
                  <a:lnTo>
                    <a:pt x="1145" y="789"/>
                  </a:lnTo>
                  <a:lnTo>
                    <a:pt x="1149" y="821"/>
                  </a:lnTo>
                  <a:lnTo>
                    <a:pt x="1151" y="854"/>
                  </a:lnTo>
                  <a:lnTo>
                    <a:pt x="1153" y="889"/>
                  </a:lnTo>
                  <a:lnTo>
                    <a:pt x="1154" y="924"/>
                  </a:lnTo>
                  <a:lnTo>
                    <a:pt x="1154" y="962"/>
                  </a:lnTo>
                  <a:lnTo>
                    <a:pt x="1154" y="1039"/>
                  </a:lnTo>
                  <a:lnTo>
                    <a:pt x="1153" y="1120"/>
                  </a:lnTo>
                  <a:lnTo>
                    <a:pt x="1150" y="1203"/>
                  </a:lnTo>
                  <a:lnTo>
                    <a:pt x="1144" y="1287"/>
                  </a:lnTo>
                  <a:lnTo>
                    <a:pt x="1138" y="1370"/>
                  </a:lnTo>
                  <a:lnTo>
                    <a:pt x="1130" y="1453"/>
                  </a:lnTo>
                  <a:lnTo>
                    <a:pt x="1121" y="1533"/>
                  </a:lnTo>
                  <a:lnTo>
                    <a:pt x="1111" y="1611"/>
                  </a:lnTo>
                  <a:lnTo>
                    <a:pt x="1099" y="1683"/>
                  </a:lnTo>
                  <a:lnTo>
                    <a:pt x="1087" y="1749"/>
                  </a:lnTo>
                  <a:lnTo>
                    <a:pt x="1081" y="1781"/>
                  </a:lnTo>
                  <a:lnTo>
                    <a:pt x="1074" y="1810"/>
                  </a:lnTo>
                  <a:lnTo>
                    <a:pt x="1068" y="1837"/>
                  </a:lnTo>
                  <a:lnTo>
                    <a:pt x="1061" y="1862"/>
                  </a:lnTo>
                  <a:lnTo>
                    <a:pt x="1058" y="1872"/>
                  </a:lnTo>
                  <a:lnTo>
                    <a:pt x="1055" y="1881"/>
                  </a:lnTo>
                  <a:lnTo>
                    <a:pt x="1050" y="1890"/>
                  </a:lnTo>
                  <a:lnTo>
                    <a:pt x="1045" y="1897"/>
                  </a:lnTo>
                  <a:lnTo>
                    <a:pt x="1040" y="1904"/>
                  </a:lnTo>
                  <a:lnTo>
                    <a:pt x="1034" y="1910"/>
                  </a:lnTo>
                  <a:lnTo>
                    <a:pt x="1028" y="1915"/>
                  </a:lnTo>
                  <a:lnTo>
                    <a:pt x="1021" y="1919"/>
                  </a:lnTo>
                  <a:lnTo>
                    <a:pt x="1014" y="1922"/>
                  </a:lnTo>
                  <a:lnTo>
                    <a:pt x="1006" y="1924"/>
                  </a:lnTo>
                  <a:lnTo>
                    <a:pt x="998" y="1926"/>
                  </a:lnTo>
                  <a:lnTo>
                    <a:pt x="989" y="1928"/>
                  </a:lnTo>
                  <a:lnTo>
                    <a:pt x="979" y="1928"/>
                  </a:lnTo>
                  <a:lnTo>
                    <a:pt x="969" y="1928"/>
                  </a:lnTo>
                  <a:lnTo>
                    <a:pt x="959" y="1925"/>
                  </a:lnTo>
                  <a:lnTo>
                    <a:pt x="947" y="1924"/>
                  </a:lnTo>
                  <a:lnTo>
                    <a:pt x="881" y="1912"/>
                  </a:lnTo>
                  <a:lnTo>
                    <a:pt x="820" y="1904"/>
                  </a:lnTo>
                  <a:lnTo>
                    <a:pt x="764" y="1896"/>
                  </a:lnTo>
                  <a:lnTo>
                    <a:pt x="711" y="1890"/>
                  </a:lnTo>
                  <a:lnTo>
                    <a:pt x="661" y="1884"/>
                  </a:lnTo>
                  <a:lnTo>
                    <a:pt x="611" y="1881"/>
                  </a:lnTo>
                  <a:lnTo>
                    <a:pt x="560" y="1879"/>
                  </a:lnTo>
                  <a:lnTo>
                    <a:pt x="507" y="1879"/>
                  </a:lnTo>
                  <a:lnTo>
                    <a:pt x="447" y="1883"/>
                  </a:lnTo>
                  <a:lnTo>
                    <a:pt x="395" y="1889"/>
                  </a:lnTo>
                  <a:lnTo>
                    <a:pt x="350" y="1894"/>
                  </a:lnTo>
                  <a:lnTo>
                    <a:pt x="311" y="1897"/>
                  </a:lnTo>
                  <a:lnTo>
                    <a:pt x="293" y="1897"/>
                  </a:lnTo>
                  <a:lnTo>
                    <a:pt x="277" y="1896"/>
                  </a:lnTo>
                  <a:lnTo>
                    <a:pt x="263" y="1894"/>
                  </a:lnTo>
                  <a:lnTo>
                    <a:pt x="250" y="1890"/>
                  </a:lnTo>
                  <a:lnTo>
                    <a:pt x="245" y="1886"/>
                  </a:lnTo>
                  <a:lnTo>
                    <a:pt x="239" y="1883"/>
                  </a:lnTo>
                  <a:lnTo>
                    <a:pt x="234" y="1880"/>
                  </a:lnTo>
                  <a:lnTo>
                    <a:pt x="229" y="1876"/>
                  </a:lnTo>
                  <a:lnTo>
                    <a:pt x="224" y="1870"/>
                  </a:lnTo>
                  <a:lnTo>
                    <a:pt x="220" y="1865"/>
                  </a:lnTo>
                  <a:lnTo>
                    <a:pt x="216" y="1858"/>
                  </a:lnTo>
                  <a:lnTo>
                    <a:pt x="211" y="1852"/>
                  </a:lnTo>
                  <a:lnTo>
                    <a:pt x="199" y="1822"/>
                  </a:lnTo>
                  <a:lnTo>
                    <a:pt x="185" y="1787"/>
                  </a:lnTo>
                  <a:lnTo>
                    <a:pt x="171" y="1747"/>
                  </a:lnTo>
                  <a:lnTo>
                    <a:pt x="156" y="1703"/>
                  </a:lnTo>
                  <a:lnTo>
                    <a:pt x="140" y="1656"/>
                  </a:lnTo>
                  <a:lnTo>
                    <a:pt x="125" y="1606"/>
                  </a:lnTo>
                  <a:lnTo>
                    <a:pt x="109" y="1554"/>
                  </a:lnTo>
                  <a:lnTo>
                    <a:pt x="94" y="1502"/>
                  </a:lnTo>
                  <a:lnTo>
                    <a:pt x="80" y="1449"/>
                  </a:lnTo>
                  <a:lnTo>
                    <a:pt x="66" y="1396"/>
                  </a:lnTo>
                  <a:lnTo>
                    <a:pt x="52" y="1345"/>
                  </a:lnTo>
                  <a:lnTo>
                    <a:pt x="40" y="1297"/>
                  </a:lnTo>
                  <a:lnTo>
                    <a:pt x="30" y="1251"/>
                  </a:lnTo>
                  <a:lnTo>
                    <a:pt x="20" y="1209"/>
                  </a:lnTo>
                  <a:lnTo>
                    <a:pt x="14" y="1172"/>
                  </a:lnTo>
                  <a:lnTo>
                    <a:pt x="8" y="1139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4"/>
            <p:cNvSpPr>
              <a:spLocks/>
            </p:cNvSpPr>
            <p:nvPr/>
          </p:nvSpPr>
          <p:spPr bwMode="auto">
            <a:xfrm>
              <a:off x="1898409" y="4627859"/>
              <a:ext cx="239029" cy="255252"/>
            </a:xfrm>
            <a:custGeom>
              <a:avLst/>
              <a:gdLst>
                <a:gd name="T0" fmla="*/ 879 w 883"/>
                <a:gd name="T1" fmla="*/ 179 h 945"/>
                <a:gd name="T2" fmla="*/ 873 w 883"/>
                <a:gd name="T3" fmla="*/ 297 h 945"/>
                <a:gd name="T4" fmla="*/ 865 w 883"/>
                <a:gd name="T5" fmla="*/ 377 h 945"/>
                <a:gd name="T6" fmla="*/ 856 w 883"/>
                <a:gd name="T7" fmla="*/ 456 h 945"/>
                <a:gd name="T8" fmla="*/ 842 w 883"/>
                <a:gd name="T9" fmla="*/ 532 h 945"/>
                <a:gd name="T10" fmla="*/ 823 w 883"/>
                <a:gd name="T11" fmla="*/ 605 h 945"/>
                <a:gd name="T12" fmla="*/ 801 w 883"/>
                <a:gd name="T13" fmla="*/ 670 h 945"/>
                <a:gd name="T14" fmla="*/ 774 w 883"/>
                <a:gd name="T15" fmla="*/ 728 h 945"/>
                <a:gd name="T16" fmla="*/ 741 w 883"/>
                <a:gd name="T17" fmla="*/ 781 h 945"/>
                <a:gd name="T18" fmla="*/ 713 w 883"/>
                <a:gd name="T19" fmla="*/ 817 h 945"/>
                <a:gd name="T20" fmla="*/ 693 w 883"/>
                <a:gd name="T21" fmla="*/ 840 h 945"/>
                <a:gd name="T22" fmla="*/ 670 w 883"/>
                <a:gd name="T23" fmla="*/ 861 h 945"/>
                <a:gd name="T24" fmla="*/ 645 w 883"/>
                <a:gd name="T25" fmla="*/ 880 h 945"/>
                <a:gd name="T26" fmla="*/ 619 w 883"/>
                <a:gd name="T27" fmla="*/ 897 h 945"/>
                <a:gd name="T28" fmla="*/ 591 w 883"/>
                <a:gd name="T29" fmla="*/ 912 h 945"/>
                <a:gd name="T30" fmla="*/ 561 w 883"/>
                <a:gd name="T31" fmla="*/ 924 h 945"/>
                <a:gd name="T32" fmla="*/ 529 w 883"/>
                <a:gd name="T33" fmla="*/ 934 h 945"/>
                <a:gd name="T34" fmla="*/ 494 w 883"/>
                <a:gd name="T35" fmla="*/ 940 h 945"/>
                <a:gd name="T36" fmla="*/ 457 w 883"/>
                <a:gd name="T37" fmla="*/ 945 h 945"/>
                <a:gd name="T38" fmla="*/ 418 w 883"/>
                <a:gd name="T39" fmla="*/ 945 h 945"/>
                <a:gd name="T40" fmla="*/ 377 w 883"/>
                <a:gd name="T41" fmla="*/ 940 h 945"/>
                <a:gd name="T42" fmla="*/ 319 w 883"/>
                <a:gd name="T43" fmla="*/ 931 h 945"/>
                <a:gd name="T44" fmla="*/ 268 w 883"/>
                <a:gd name="T45" fmla="*/ 917 h 945"/>
                <a:gd name="T46" fmla="*/ 237 w 883"/>
                <a:gd name="T47" fmla="*/ 906 h 945"/>
                <a:gd name="T48" fmla="*/ 207 w 883"/>
                <a:gd name="T49" fmla="*/ 893 h 945"/>
                <a:gd name="T50" fmla="*/ 180 w 883"/>
                <a:gd name="T51" fmla="*/ 878 h 945"/>
                <a:gd name="T52" fmla="*/ 154 w 883"/>
                <a:gd name="T53" fmla="*/ 861 h 945"/>
                <a:gd name="T54" fmla="*/ 130 w 883"/>
                <a:gd name="T55" fmla="*/ 842 h 945"/>
                <a:gd name="T56" fmla="*/ 107 w 883"/>
                <a:gd name="T57" fmla="*/ 822 h 945"/>
                <a:gd name="T58" fmla="*/ 88 w 883"/>
                <a:gd name="T59" fmla="*/ 799 h 945"/>
                <a:gd name="T60" fmla="*/ 70 w 883"/>
                <a:gd name="T61" fmla="*/ 774 h 945"/>
                <a:gd name="T62" fmla="*/ 54 w 883"/>
                <a:gd name="T63" fmla="*/ 747 h 945"/>
                <a:gd name="T64" fmla="*/ 40 w 883"/>
                <a:gd name="T65" fmla="*/ 718 h 945"/>
                <a:gd name="T66" fmla="*/ 27 w 883"/>
                <a:gd name="T67" fmla="*/ 688 h 945"/>
                <a:gd name="T68" fmla="*/ 18 w 883"/>
                <a:gd name="T69" fmla="*/ 654 h 945"/>
                <a:gd name="T70" fmla="*/ 10 w 883"/>
                <a:gd name="T71" fmla="*/ 619 h 945"/>
                <a:gd name="T72" fmla="*/ 3 w 883"/>
                <a:gd name="T73" fmla="*/ 572 h 945"/>
                <a:gd name="T74" fmla="*/ 0 w 883"/>
                <a:gd name="T75" fmla="*/ 502 h 945"/>
                <a:gd name="T76" fmla="*/ 2 w 883"/>
                <a:gd name="T77" fmla="*/ 419 h 945"/>
                <a:gd name="T78" fmla="*/ 7 w 883"/>
                <a:gd name="T79" fmla="*/ 328 h 945"/>
                <a:gd name="T80" fmla="*/ 17 w 883"/>
                <a:gd name="T81" fmla="*/ 237 h 945"/>
                <a:gd name="T82" fmla="*/ 29 w 883"/>
                <a:gd name="T83" fmla="*/ 151 h 945"/>
                <a:gd name="T84" fmla="*/ 45 w 883"/>
                <a:gd name="T85" fmla="*/ 76 h 945"/>
                <a:gd name="T86" fmla="*/ 58 w 883"/>
                <a:gd name="T87" fmla="*/ 32 h 945"/>
                <a:gd name="T88" fmla="*/ 66 w 883"/>
                <a:gd name="T89" fmla="*/ 9 h 945"/>
                <a:gd name="T90" fmla="*/ 883 w 883"/>
                <a:gd name="T91" fmla="*/ 10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83" h="945">
                  <a:moveTo>
                    <a:pt x="883" y="105"/>
                  </a:moveTo>
                  <a:lnTo>
                    <a:pt x="879" y="179"/>
                  </a:lnTo>
                  <a:lnTo>
                    <a:pt x="875" y="257"/>
                  </a:lnTo>
                  <a:lnTo>
                    <a:pt x="873" y="297"/>
                  </a:lnTo>
                  <a:lnTo>
                    <a:pt x="870" y="337"/>
                  </a:lnTo>
                  <a:lnTo>
                    <a:pt x="865" y="377"/>
                  </a:lnTo>
                  <a:lnTo>
                    <a:pt x="861" y="417"/>
                  </a:lnTo>
                  <a:lnTo>
                    <a:pt x="856" y="456"/>
                  </a:lnTo>
                  <a:lnTo>
                    <a:pt x="849" y="494"/>
                  </a:lnTo>
                  <a:lnTo>
                    <a:pt x="842" y="532"/>
                  </a:lnTo>
                  <a:lnTo>
                    <a:pt x="833" y="569"/>
                  </a:lnTo>
                  <a:lnTo>
                    <a:pt x="823" y="605"/>
                  </a:lnTo>
                  <a:lnTo>
                    <a:pt x="814" y="638"/>
                  </a:lnTo>
                  <a:lnTo>
                    <a:pt x="801" y="670"/>
                  </a:lnTo>
                  <a:lnTo>
                    <a:pt x="788" y="701"/>
                  </a:lnTo>
                  <a:lnTo>
                    <a:pt x="774" y="728"/>
                  </a:lnTo>
                  <a:lnTo>
                    <a:pt x="759" y="755"/>
                  </a:lnTo>
                  <a:lnTo>
                    <a:pt x="741" y="781"/>
                  </a:lnTo>
                  <a:lnTo>
                    <a:pt x="723" y="805"/>
                  </a:lnTo>
                  <a:lnTo>
                    <a:pt x="713" y="817"/>
                  </a:lnTo>
                  <a:lnTo>
                    <a:pt x="702" y="828"/>
                  </a:lnTo>
                  <a:lnTo>
                    <a:pt x="693" y="840"/>
                  </a:lnTo>
                  <a:lnTo>
                    <a:pt x="681" y="851"/>
                  </a:lnTo>
                  <a:lnTo>
                    <a:pt x="670" y="861"/>
                  </a:lnTo>
                  <a:lnTo>
                    <a:pt x="658" y="870"/>
                  </a:lnTo>
                  <a:lnTo>
                    <a:pt x="645" y="880"/>
                  </a:lnTo>
                  <a:lnTo>
                    <a:pt x="632" y="889"/>
                  </a:lnTo>
                  <a:lnTo>
                    <a:pt x="619" y="897"/>
                  </a:lnTo>
                  <a:lnTo>
                    <a:pt x="605" y="905"/>
                  </a:lnTo>
                  <a:lnTo>
                    <a:pt x="591" y="912"/>
                  </a:lnTo>
                  <a:lnTo>
                    <a:pt x="576" y="919"/>
                  </a:lnTo>
                  <a:lnTo>
                    <a:pt x="561" y="924"/>
                  </a:lnTo>
                  <a:lnTo>
                    <a:pt x="545" y="930"/>
                  </a:lnTo>
                  <a:lnTo>
                    <a:pt x="529" y="934"/>
                  </a:lnTo>
                  <a:lnTo>
                    <a:pt x="511" y="938"/>
                  </a:lnTo>
                  <a:lnTo>
                    <a:pt x="494" y="940"/>
                  </a:lnTo>
                  <a:lnTo>
                    <a:pt x="476" y="943"/>
                  </a:lnTo>
                  <a:lnTo>
                    <a:pt x="457" y="945"/>
                  </a:lnTo>
                  <a:lnTo>
                    <a:pt x="438" y="945"/>
                  </a:lnTo>
                  <a:lnTo>
                    <a:pt x="418" y="945"/>
                  </a:lnTo>
                  <a:lnTo>
                    <a:pt x="398" y="944"/>
                  </a:lnTo>
                  <a:lnTo>
                    <a:pt x="377" y="940"/>
                  </a:lnTo>
                  <a:lnTo>
                    <a:pt x="356" y="938"/>
                  </a:lnTo>
                  <a:lnTo>
                    <a:pt x="319" y="931"/>
                  </a:lnTo>
                  <a:lnTo>
                    <a:pt x="284" y="922"/>
                  </a:lnTo>
                  <a:lnTo>
                    <a:pt x="268" y="917"/>
                  </a:lnTo>
                  <a:lnTo>
                    <a:pt x="252" y="911"/>
                  </a:lnTo>
                  <a:lnTo>
                    <a:pt x="237" y="906"/>
                  </a:lnTo>
                  <a:lnTo>
                    <a:pt x="222" y="899"/>
                  </a:lnTo>
                  <a:lnTo>
                    <a:pt x="207" y="893"/>
                  </a:lnTo>
                  <a:lnTo>
                    <a:pt x="193" y="885"/>
                  </a:lnTo>
                  <a:lnTo>
                    <a:pt x="180" y="878"/>
                  </a:lnTo>
                  <a:lnTo>
                    <a:pt x="167" y="869"/>
                  </a:lnTo>
                  <a:lnTo>
                    <a:pt x="154" y="861"/>
                  </a:lnTo>
                  <a:lnTo>
                    <a:pt x="142" y="852"/>
                  </a:lnTo>
                  <a:lnTo>
                    <a:pt x="130" y="842"/>
                  </a:lnTo>
                  <a:lnTo>
                    <a:pt x="118" y="831"/>
                  </a:lnTo>
                  <a:lnTo>
                    <a:pt x="107" y="822"/>
                  </a:lnTo>
                  <a:lnTo>
                    <a:pt x="98" y="810"/>
                  </a:lnTo>
                  <a:lnTo>
                    <a:pt x="88" y="799"/>
                  </a:lnTo>
                  <a:lnTo>
                    <a:pt x="78" y="786"/>
                  </a:lnTo>
                  <a:lnTo>
                    <a:pt x="70" y="774"/>
                  </a:lnTo>
                  <a:lnTo>
                    <a:pt x="62" y="761"/>
                  </a:lnTo>
                  <a:lnTo>
                    <a:pt x="54" y="747"/>
                  </a:lnTo>
                  <a:lnTo>
                    <a:pt x="47" y="733"/>
                  </a:lnTo>
                  <a:lnTo>
                    <a:pt x="40" y="718"/>
                  </a:lnTo>
                  <a:lnTo>
                    <a:pt x="34" y="703"/>
                  </a:lnTo>
                  <a:lnTo>
                    <a:pt x="27" y="688"/>
                  </a:lnTo>
                  <a:lnTo>
                    <a:pt x="23" y="672"/>
                  </a:lnTo>
                  <a:lnTo>
                    <a:pt x="18" y="654"/>
                  </a:lnTo>
                  <a:lnTo>
                    <a:pt x="13" y="637"/>
                  </a:lnTo>
                  <a:lnTo>
                    <a:pt x="10" y="619"/>
                  </a:lnTo>
                  <a:lnTo>
                    <a:pt x="7" y="600"/>
                  </a:lnTo>
                  <a:lnTo>
                    <a:pt x="3" y="572"/>
                  </a:lnTo>
                  <a:lnTo>
                    <a:pt x="0" y="539"/>
                  </a:lnTo>
                  <a:lnTo>
                    <a:pt x="0" y="502"/>
                  </a:lnTo>
                  <a:lnTo>
                    <a:pt x="0" y="461"/>
                  </a:lnTo>
                  <a:lnTo>
                    <a:pt x="2" y="419"/>
                  </a:lnTo>
                  <a:lnTo>
                    <a:pt x="4" y="373"/>
                  </a:lnTo>
                  <a:lnTo>
                    <a:pt x="7" y="328"/>
                  </a:lnTo>
                  <a:lnTo>
                    <a:pt x="11" y="283"/>
                  </a:lnTo>
                  <a:lnTo>
                    <a:pt x="17" y="237"/>
                  </a:lnTo>
                  <a:lnTo>
                    <a:pt x="22" y="193"/>
                  </a:lnTo>
                  <a:lnTo>
                    <a:pt x="29" y="151"/>
                  </a:lnTo>
                  <a:lnTo>
                    <a:pt x="36" y="112"/>
                  </a:lnTo>
                  <a:lnTo>
                    <a:pt x="45" y="76"/>
                  </a:lnTo>
                  <a:lnTo>
                    <a:pt x="52" y="46"/>
                  </a:lnTo>
                  <a:lnTo>
                    <a:pt x="58" y="32"/>
                  </a:lnTo>
                  <a:lnTo>
                    <a:pt x="62" y="20"/>
                  </a:lnTo>
                  <a:lnTo>
                    <a:pt x="66" y="9"/>
                  </a:lnTo>
                  <a:lnTo>
                    <a:pt x="72" y="0"/>
                  </a:lnTo>
                  <a:lnTo>
                    <a:pt x="883" y="105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5" name="Rectangle 33"/>
          <p:cNvSpPr>
            <a:spLocks/>
          </p:cNvSpPr>
          <p:nvPr/>
        </p:nvSpPr>
        <p:spPr bwMode="auto">
          <a:xfrm>
            <a:off x="6379117" y="2472211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06" name="Rectangle 33"/>
          <p:cNvSpPr>
            <a:spLocks/>
          </p:cNvSpPr>
          <p:nvPr/>
        </p:nvSpPr>
        <p:spPr bwMode="auto">
          <a:xfrm>
            <a:off x="5514200" y="4270912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07" name="Rectangle 33"/>
          <p:cNvSpPr>
            <a:spLocks/>
          </p:cNvSpPr>
          <p:nvPr/>
        </p:nvSpPr>
        <p:spPr bwMode="auto">
          <a:xfrm>
            <a:off x="1830177" y="2898495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108" name="Rectangle 33"/>
          <p:cNvSpPr>
            <a:spLocks/>
          </p:cNvSpPr>
          <p:nvPr/>
        </p:nvSpPr>
        <p:spPr bwMode="auto">
          <a:xfrm>
            <a:off x="965260" y="4697196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866981" y="4629046"/>
            <a:ext cx="461246" cy="461246"/>
            <a:chOff x="2866981" y="4629046"/>
            <a:chExt cx="461246" cy="461246"/>
          </a:xfrm>
        </p:grpSpPr>
        <p:sp>
          <p:nvSpPr>
            <p:cNvPr id="12" name="Oval 11"/>
            <p:cNvSpPr/>
            <p:nvPr/>
          </p:nvSpPr>
          <p:spPr>
            <a:xfrm>
              <a:off x="2866981" y="4629046"/>
              <a:ext cx="461246" cy="461246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936164" y="4675003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1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988138" y="4172999"/>
            <a:ext cx="461246" cy="461246"/>
            <a:chOff x="4988138" y="4172999"/>
            <a:chExt cx="461246" cy="461246"/>
          </a:xfrm>
        </p:grpSpPr>
        <p:sp>
          <p:nvSpPr>
            <p:cNvPr id="98" name="Oval 97"/>
            <p:cNvSpPr/>
            <p:nvPr/>
          </p:nvSpPr>
          <p:spPr>
            <a:xfrm>
              <a:off x="4988138" y="4172999"/>
              <a:ext cx="461246" cy="461246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5067918" y="422716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2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656026" y="2789667"/>
            <a:ext cx="461246" cy="461246"/>
            <a:chOff x="3656026" y="2789667"/>
            <a:chExt cx="461246" cy="461246"/>
          </a:xfrm>
        </p:grpSpPr>
        <p:sp>
          <p:nvSpPr>
            <p:cNvPr id="99" name="Oval 98"/>
            <p:cNvSpPr/>
            <p:nvPr/>
          </p:nvSpPr>
          <p:spPr>
            <a:xfrm>
              <a:off x="3656026" y="2789667"/>
              <a:ext cx="461246" cy="461246"/>
            </a:xfrm>
            <a:prstGeom prst="ellipse">
              <a:avLst/>
            </a:prstGeom>
            <a:solidFill>
              <a:srgbClr val="E99E0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3735055" y="2830517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3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814237" y="2417365"/>
            <a:ext cx="461246" cy="461246"/>
            <a:chOff x="5814237" y="2417365"/>
            <a:chExt cx="461246" cy="461246"/>
          </a:xfrm>
        </p:grpSpPr>
        <p:sp>
          <p:nvSpPr>
            <p:cNvPr id="100" name="Oval 99"/>
            <p:cNvSpPr/>
            <p:nvPr/>
          </p:nvSpPr>
          <p:spPr>
            <a:xfrm>
              <a:off x="5814237" y="2417365"/>
              <a:ext cx="461246" cy="461246"/>
            </a:xfrm>
            <a:prstGeom prst="ellipse">
              <a:avLst/>
            </a:prstGeom>
            <a:solidFill>
              <a:srgbClr val="227C13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874836" y="2445900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4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1804500" y="4412312"/>
            <a:ext cx="10047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xample Text</a:t>
            </a:r>
            <a:endParaRPr lang="en-US" sz="1200" dirty="0"/>
          </a:p>
        </p:txBody>
      </p:sp>
      <p:sp>
        <p:nvSpPr>
          <p:cNvPr id="113" name="TextBox 112"/>
          <p:cNvSpPr txBox="1"/>
          <p:nvPr/>
        </p:nvSpPr>
        <p:spPr>
          <a:xfrm>
            <a:off x="2604243" y="2584654"/>
            <a:ext cx="10047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xample Text</a:t>
            </a:r>
            <a:endParaRPr lang="en-US" sz="1200" dirty="0"/>
          </a:p>
        </p:txBody>
      </p:sp>
      <p:sp>
        <p:nvSpPr>
          <p:cNvPr id="114" name="TextBox 113"/>
          <p:cNvSpPr txBox="1"/>
          <p:nvPr/>
        </p:nvSpPr>
        <p:spPr>
          <a:xfrm>
            <a:off x="6312193" y="2205173"/>
            <a:ext cx="10047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xample Text</a:t>
            </a:r>
            <a:endParaRPr lang="en-US" sz="1200" dirty="0"/>
          </a:p>
        </p:txBody>
      </p:sp>
      <p:sp>
        <p:nvSpPr>
          <p:cNvPr id="115" name="TextBox 114"/>
          <p:cNvSpPr txBox="1"/>
          <p:nvPr/>
        </p:nvSpPr>
        <p:spPr>
          <a:xfrm>
            <a:off x="5467820" y="3968773"/>
            <a:ext cx="10047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xample Text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4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7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3033033" y="1964597"/>
            <a:ext cx="3033938" cy="3191130"/>
          </a:xfrm>
          <a:custGeom>
            <a:avLst/>
            <a:gdLst>
              <a:gd name="T0" fmla="*/ 8909 w 16621"/>
              <a:gd name="T1" fmla="*/ 11049 h 17485"/>
              <a:gd name="T2" fmla="*/ 9238 w 16621"/>
              <a:gd name="T3" fmla="*/ 10554 h 17485"/>
              <a:gd name="T4" fmla="*/ 9440 w 16621"/>
              <a:gd name="T5" fmla="*/ 9954 h 17485"/>
              <a:gd name="T6" fmla="*/ 9521 w 16621"/>
              <a:gd name="T7" fmla="*/ 9287 h 17485"/>
              <a:gd name="T8" fmla="*/ 9487 w 16621"/>
              <a:gd name="T9" fmla="*/ 8596 h 17485"/>
              <a:gd name="T10" fmla="*/ 9345 w 16621"/>
              <a:gd name="T11" fmla="*/ 7921 h 17485"/>
              <a:gd name="T12" fmla="*/ 9103 w 16621"/>
              <a:gd name="T13" fmla="*/ 7303 h 17485"/>
              <a:gd name="T14" fmla="*/ 8768 w 16621"/>
              <a:gd name="T15" fmla="*/ 6783 h 17485"/>
              <a:gd name="T16" fmla="*/ 8321 w 16621"/>
              <a:gd name="T17" fmla="*/ 6379 h 17485"/>
              <a:gd name="T18" fmla="*/ 7720 w 16621"/>
              <a:gd name="T19" fmla="*/ 6061 h 17485"/>
              <a:gd name="T20" fmla="*/ 6996 w 16621"/>
              <a:gd name="T21" fmla="*/ 5836 h 17485"/>
              <a:gd name="T22" fmla="*/ 6185 w 16621"/>
              <a:gd name="T23" fmla="*/ 5718 h 17485"/>
              <a:gd name="T24" fmla="*/ 5321 w 16621"/>
              <a:gd name="T25" fmla="*/ 5719 h 17485"/>
              <a:gd name="T26" fmla="*/ 4441 w 16621"/>
              <a:gd name="T27" fmla="*/ 5851 h 17485"/>
              <a:gd name="T28" fmla="*/ 3578 w 16621"/>
              <a:gd name="T29" fmla="*/ 6125 h 17485"/>
              <a:gd name="T30" fmla="*/ 2769 w 16621"/>
              <a:gd name="T31" fmla="*/ 6553 h 17485"/>
              <a:gd name="T32" fmla="*/ 1883 w 16621"/>
              <a:gd name="T33" fmla="*/ 7292 h 17485"/>
              <a:gd name="T34" fmla="*/ 1124 w 16621"/>
              <a:gd name="T35" fmla="*/ 8246 h 17485"/>
              <a:gd name="T36" fmla="*/ 571 w 16621"/>
              <a:gd name="T37" fmla="*/ 9322 h 17485"/>
              <a:gd name="T38" fmla="*/ 235 w 16621"/>
              <a:gd name="T39" fmla="*/ 10476 h 17485"/>
              <a:gd name="T40" fmla="*/ 129 w 16621"/>
              <a:gd name="T41" fmla="*/ 11659 h 17485"/>
              <a:gd name="T42" fmla="*/ 262 w 16621"/>
              <a:gd name="T43" fmla="*/ 12822 h 17485"/>
              <a:gd name="T44" fmla="*/ 650 w 16621"/>
              <a:gd name="T45" fmla="*/ 13919 h 17485"/>
              <a:gd name="T46" fmla="*/ 1303 w 16621"/>
              <a:gd name="T47" fmla="*/ 14903 h 17485"/>
              <a:gd name="T48" fmla="*/ 2238 w 16621"/>
              <a:gd name="T49" fmla="*/ 15745 h 17485"/>
              <a:gd name="T50" fmla="*/ 3437 w 16621"/>
              <a:gd name="T51" fmla="*/ 16459 h 17485"/>
              <a:gd name="T52" fmla="*/ 4835 w 16621"/>
              <a:gd name="T53" fmla="*/ 17008 h 17485"/>
              <a:gd name="T54" fmla="*/ 6365 w 16621"/>
              <a:gd name="T55" fmla="*/ 17361 h 17485"/>
              <a:gd name="T56" fmla="*/ 7964 w 16621"/>
              <a:gd name="T57" fmla="*/ 17485 h 17485"/>
              <a:gd name="T58" fmla="*/ 9563 w 16621"/>
              <a:gd name="T59" fmla="*/ 17344 h 17485"/>
              <a:gd name="T60" fmla="*/ 11097 w 16621"/>
              <a:gd name="T61" fmla="*/ 16904 h 17485"/>
              <a:gd name="T62" fmla="*/ 12502 w 16621"/>
              <a:gd name="T63" fmla="*/ 16132 h 17485"/>
              <a:gd name="T64" fmla="*/ 13959 w 16621"/>
              <a:gd name="T65" fmla="*/ 14806 h 17485"/>
              <a:gd name="T66" fmla="*/ 15162 w 16621"/>
              <a:gd name="T67" fmla="*/ 13212 h 17485"/>
              <a:gd name="T68" fmla="*/ 16009 w 16621"/>
              <a:gd name="T69" fmla="*/ 11490 h 17485"/>
              <a:gd name="T70" fmla="*/ 16495 w 16621"/>
              <a:gd name="T71" fmla="*/ 9699 h 17485"/>
              <a:gd name="T72" fmla="*/ 16617 w 16621"/>
              <a:gd name="T73" fmla="*/ 7898 h 17485"/>
              <a:gd name="T74" fmla="*/ 16371 w 16621"/>
              <a:gd name="T75" fmla="*/ 6145 h 17485"/>
              <a:gd name="T76" fmla="*/ 15753 w 16621"/>
              <a:gd name="T77" fmla="*/ 4499 h 17485"/>
              <a:gd name="T78" fmla="*/ 14759 w 16621"/>
              <a:gd name="T79" fmla="*/ 3021 h 17485"/>
              <a:gd name="T80" fmla="*/ 13415 w 16621"/>
              <a:gd name="T81" fmla="*/ 1786 h 17485"/>
              <a:gd name="T82" fmla="*/ 11825 w 16621"/>
              <a:gd name="T83" fmla="*/ 872 h 17485"/>
              <a:gd name="T84" fmla="*/ 10050 w 16621"/>
              <a:gd name="T85" fmla="*/ 281 h 17485"/>
              <a:gd name="T86" fmla="*/ 8149 w 16621"/>
              <a:gd name="T87" fmla="*/ 15 h 17485"/>
              <a:gd name="T88" fmla="*/ 6178 w 16621"/>
              <a:gd name="T89" fmla="*/ 75 h 17485"/>
              <a:gd name="T90" fmla="*/ 4197 w 16621"/>
              <a:gd name="T91" fmla="*/ 460 h 17485"/>
              <a:gd name="T92" fmla="*/ 2262 w 16621"/>
              <a:gd name="T93" fmla="*/ 1171 h 17485"/>
              <a:gd name="T94" fmla="*/ 433 w 16621"/>
              <a:gd name="T95" fmla="*/ 2209 h 17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621" h="17485">
                <a:moveTo>
                  <a:pt x="8573" y="11325"/>
                </a:moveTo>
                <a:lnTo>
                  <a:pt x="8693" y="11243"/>
                </a:lnTo>
                <a:lnTo>
                  <a:pt x="8805" y="11151"/>
                </a:lnTo>
                <a:lnTo>
                  <a:pt x="8909" y="11049"/>
                </a:lnTo>
                <a:lnTo>
                  <a:pt x="9003" y="10937"/>
                </a:lnTo>
                <a:lnTo>
                  <a:pt x="9089" y="10818"/>
                </a:lnTo>
                <a:lnTo>
                  <a:pt x="9168" y="10690"/>
                </a:lnTo>
                <a:lnTo>
                  <a:pt x="9238" y="10554"/>
                </a:lnTo>
                <a:lnTo>
                  <a:pt x="9301" y="10413"/>
                </a:lnTo>
                <a:lnTo>
                  <a:pt x="9355" y="10266"/>
                </a:lnTo>
                <a:lnTo>
                  <a:pt x="9401" y="10112"/>
                </a:lnTo>
                <a:lnTo>
                  <a:pt x="9440" y="9954"/>
                </a:lnTo>
                <a:lnTo>
                  <a:pt x="9471" y="9792"/>
                </a:lnTo>
                <a:lnTo>
                  <a:pt x="9495" y="9627"/>
                </a:lnTo>
                <a:lnTo>
                  <a:pt x="9512" y="9458"/>
                </a:lnTo>
                <a:lnTo>
                  <a:pt x="9521" y="9287"/>
                </a:lnTo>
                <a:lnTo>
                  <a:pt x="9523" y="9115"/>
                </a:lnTo>
                <a:lnTo>
                  <a:pt x="9517" y="8942"/>
                </a:lnTo>
                <a:lnTo>
                  <a:pt x="9505" y="8769"/>
                </a:lnTo>
                <a:lnTo>
                  <a:pt x="9487" y="8596"/>
                </a:lnTo>
                <a:lnTo>
                  <a:pt x="9461" y="8424"/>
                </a:lnTo>
                <a:lnTo>
                  <a:pt x="9429" y="8253"/>
                </a:lnTo>
                <a:lnTo>
                  <a:pt x="9390" y="8086"/>
                </a:lnTo>
                <a:lnTo>
                  <a:pt x="9345" y="7921"/>
                </a:lnTo>
                <a:lnTo>
                  <a:pt x="9294" y="7759"/>
                </a:lnTo>
                <a:lnTo>
                  <a:pt x="9237" y="7601"/>
                </a:lnTo>
                <a:lnTo>
                  <a:pt x="9174" y="7449"/>
                </a:lnTo>
                <a:lnTo>
                  <a:pt x="9103" y="7303"/>
                </a:lnTo>
                <a:lnTo>
                  <a:pt x="9028" y="7161"/>
                </a:lnTo>
                <a:lnTo>
                  <a:pt x="8947" y="7028"/>
                </a:lnTo>
                <a:lnTo>
                  <a:pt x="8860" y="6901"/>
                </a:lnTo>
                <a:lnTo>
                  <a:pt x="8768" y="6783"/>
                </a:lnTo>
                <a:lnTo>
                  <a:pt x="8671" y="6673"/>
                </a:lnTo>
                <a:lnTo>
                  <a:pt x="8565" y="6571"/>
                </a:lnTo>
                <a:lnTo>
                  <a:pt x="8448" y="6472"/>
                </a:lnTo>
                <a:lnTo>
                  <a:pt x="8321" y="6379"/>
                </a:lnTo>
                <a:lnTo>
                  <a:pt x="8184" y="6292"/>
                </a:lnTo>
                <a:lnTo>
                  <a:pt x="8037" y="6208"/>
                </a:lnTo>
                <a:lnTo>
                  <a:pt x="7883" y="6132"/>
                </a:lnTo>
                <a:lnTo>
                  <a:pt x="7720" y="6061"/>
                </a:lnTo>
                <a:lnTo>
                  <a:pt x="7549" y="5995"/>
                </a:lnTo>
                <a:lnTo>
                  <a:pt x="7370" y="5936"/>
                </a:lnTo>
                <a:lnTo>
                  <a:pt x="7187" y="5882"/>
                </a:lnTo>
                <a:lnTo>
                  <a:pt x="6996" y="5836"/>
                </a:lnTo>
                <a:lnTo>
                  <a:pt x="6800" y="5796"/>
                </a:lnTo>
                <a:lnTo>
                  <a:pt x="6599" y="5763"/>
                </a:lnTo>
                <a:lnTo>
                  <a:pt x="6394" y="5737"/>
                </a:lnTo>
                <a:lnTo>
                  <a:pt x="6185" y="5718"/>
                </a:lnTo>
                <a:lnTo>
                  <a:pt x="5972" y="5707"/>
                </a:lnTo>
                <a:lnTo>
                  <a:pt x="5758" y="5704"/>
                </a:lnTo>
                <a:lnTo>
                  <a:pt x="5540" y="5707"/>
                </a:lnTo>
                <a:lnTo>
                  <a:pt x="5321" y="5719"/>
                </a:lnTo>
                <a:lnTo>
                  <a:pt x="5102" y="5740"/>
                </a:lnTo>
                <a:lnTo>
                  <a:pt x="4881" y="5768"/>
                </a:lnTo>
                <a:lnTo>
                  <a:pt x="4661" y="5806"/>
                </a:lnTo>
                <a:lnTo>
                  <a:pt x="4441" y="5851"/>
                </a:lnTo>
                <a:lnTo>
                  <a:pt x="4223" y="5905"/>
                </a:lnTo>
                <a:lnTo>
                  <a:pt x="4005" y="5970"/>
                </a:lnTo>
                <a:lnTo>
                  <a:pt x="3791" y="6042"/>
                </a:lnTo>
                <a:lnTo>
                  <a:pt x="3578" y="6125"/>
                </a:lnTo>
                <a:lnTo>
                  <a:pt x="3370" y="6217"/>
                </a:lnTo>
                <a:lnTo>
                  <a:pt x="3164" y="6319"/>
                </a:lnTo>
                <a:lnTo>
                  <a:pt x="2964" y="6430"/>
                </a:lnTo>
                <a:lnTo>
                  <a:pt x="2769" y="6553"/>
                </a:lnTo>
                <a:lnTo>
                  <a:pt x="2579" y="6685"/>
                </a:lnTo>
                <a:lnTo>
                  <a:pt x="2335" y="6876"/>
                </a:lnTo>
                <a:lnTo>
                  <a:pt x="2103" y="7078"/>
                </a:lnTo>
                <a:lnTo>
                  <a:pt x="1883" y="7292"/>
                </a:lnTo>
                <a:lnTo>
                  <a:pt x="1675" y="7516"/>
                </a:lnTo>
                <a:lnTo>
                  <a:pt x="1479" y="7750"/>
                </a:lnTo>
                <a:lnTo>
                  <a:pt x="1296" y="7993"/>
                </a:lnTo>
                <a:lnTo>
                  <a:pt x="1124" y="8246"/>
                </a:lnTo>
                <a:lnTo>
                  <a:pt x="966" y="8505"/>
                </a:lnTo>
                <a:lnTo>
                  <a:pt x="822" y="8772"/>
                </a:lnTo>
                <a:lnTo>
                  <a:pt x="689" y="9044"/>
                </a:lnTo>
                <a:lnTo>
                  <a:pt x="571" y="9322"/>
                </a:lnTo>
                <a:lnTo>
                  <a:pt x="466" y="9606"/>
                </a:lnTo>
                <a:lnTo>
                  <a:pt x="375" y="9892"/>
                </a:lnTo>
                <a:lnTo>
                  <a:pt x="298" y="10184"/>
                </a:lnTo>
                <a:lnTo>
                  <a:pt x="235" y="10476"/>
                </a:lnTo>
                <a:lnTo>
                  <a:pt x="187" y="10771"/>
                </a:lnTo>
                <a:lnTo>
                  <a:pt x="152" y="11067"/>
                </a:lnTo>
                <a:lnTo>
                  <a:pt x="133" y="11362"/>
                </a:lnTo>
                <a:lnTo>
                  <a:pt x="129" y="11659"/>
                </a:lnTo>
                <a:lnTo>
                  <a:pt x="139" y="11953"/>
                </a:lnTo>
                <a:lnTo>
                  <a:pt x="165" y="12245"/>
                </a:lnTo>
                <a:lnTo>
                  <a:pt x="205" y="12535"/>
                </a:lnTo>
                <a:lnTo>
                  <a:pt x="262" y="12822"/>
                </a:lnTo>
                <a:lnTo>
                  <a:pt x="336" y="13104"/>
                </a:lnTo>
                <a:lnTo>
                  <a:pt x="424" y="13381"/>
                </a:lnTo>
                <a:lnTo>
                  <a:pt x="529" y="13653"/>
                </a:lnTo>
                <a:lnTo>
                  <a:pt x="650" y="13919"/>
                </a:lnTo>
                <a:lnTo>
                  <a:pt x="788" y="14177"/>
                </a:lnTo>
                <a:lnTo>
                  <a:pt x="943" y="14428"/>
                </a:lnTo>
                <a:lnTo>
                  <a:pt x="1115" y="14670"/>
                </a:lnTo>
                <a:lnTo>
                  <a:pt x="1303" y="14903"/>
                </a:lnTo>
                <a:lnTo>
                  <a:pt x="1510" y="15125"/>
                </a:lnTo>
                <a:lnTo>
                  <a:pt x="1735" y="15339"/>
                </a:lnTo>
                <a:lnTo>
                  <a:pt x="1978" y="15546"/>
                </a:lnTo>
                <a:lnTo>
                  <a:pt x="2238" y="15745"/>
                </a:lnTo>
                <a:lnTo>
                  <a:pt x="2515" y="15937"/>
                </a:lnTo>
                <a:lnTo>
                  <a:pt x="2809" y="16121"/>
                </a:lnTo>
                <a:lnTo>
                  <a:pt x="3116" y="16293"/>
                </a:lnTo>
                <a:lnTo>
                  <a:pt x="3437" y="16459"/>
                </a:lnTo>
                <a:lnTo>
                  <a:pt x="3770" y="16612"/>
                </a:lnTo>
                <a:lnTo>
                  <a:pt x="4115" y="16755"/>
                </a:lnTo>
                <a:lnTo>
                  <a:pt x="4470" y="16888"/>
                </a:lnTo>
                <a:lnTo>
                  <a:pt x="4835" y="17008"/>
                </a:lnTo>
                <a:lnTo>
                  <a:pt x="5207" y="17116"/>
                </a:lnTo>
                <a:lnTo>
                  <a:pt x="5587" y="17212"/>
                </a:lnTo>
                <a:lnTo>
                  <a:pt x="5974" y="17294"/>
                </a:lnTo>
                <a:lnTo>
                  <a:pt x="6365" y="17361"/>
                </a:lnTo>
                <a:lnTo>
                  <a:pt x="6761" y="17415"/>
                </a:lnTo>
                <a:lnTo>
                  <a:pt x="7160" y="17454"/>
                </a:lnTo>
                <a:lnTo>
                  <a:pt x="7561" y="17477"/>
                </a:lnTo>
                <a:lnTo>
                  <a:pt x="7964" y="17485"/>
                </a:lnTo>
                <a:lnTo>
                  <a:pt x="8366" y="17476"/>
                </a:lnTo>
                <a:lnTo>
                  <a:pt x="8767" y="17449"/>
                </a:lnTo>
                <a:lnTo>
                  <a:pt x="9167" y="17405"/>
                </a:lnTo>
                <a:lnTo>
                  <a:pt x="9563" y="17344"/>
                </a:lnTo>
                <a:lnTo>
                  <a:pt x="9955" y="17263"/>
                </a:lnTo>
                <a:lnTo>
                  <a:pt x="10343" y="17163"/>
                </a:lnTo>
                <a:lnTo>
                  <a:pt x="10724" y="17044"/>
                </a:lnTo>
                <a:lnTo>
                  <a:pt x="11097" y="16904"/>
                </a:lnTo>
                <a:lnTo>
                  <a:pt x="11464" y="16743"/>
                </a:lnTo>
                <a:lnTo>
                  <a:pt x="11820" y="16562"/>
                </a:lnTo>
                <a:lnTo>
                  <a:pt x="12167" y="16358"/>
                </a:lnTo>
                <a:lnTo>
                  <a:pt x="12502" y="16132"/>
                </a:lnTo>
                <a:lnTo>
                  <a:pt x="12824" y="15882"/>
                </a:lnTo>
                <a:lnTo>
                  <a:pt x="13224" y="15537"/>
                </a:lnTo>
                <a:lnTo>
                  <a:pt x="13603" y="15179"/>
                </a:lnTo>
                <a:lnTo>
                  <a:pt x="13959" y="14806"/>
                </a:lnTo>
                <a:lnTo>
                  <a:pt x="14293" y="14424"/>
                </a:lnTo>
                <a:lnTo>
                  <a:pt x="14605" y="14030"/>
                </a:lnTo>
                <a:lnTo>
                  <a:pt x="14895" y="13626"/>
                </a:lnTo>
                <a:lnTo>
                  <a:pt x="15162" y="13212"/>
                </a:lnTo>
                <a:lnTo>
                  <a:pt x="15407" y="12792"/>
                </a:lnTo>
                <a:lnTo>
                  <a:pt x="15630" y="12364"/>
                </a:lnTo>
                <a:lnTo>
                  <a:pt x="15831" y="11930"/>
                </a:lnTo>
                <a:lnTo>
                  <a:pt x="16009" y="11490"/>
                </a:lnTo>
                <a:lnTo>
                  <a:pt x="16165" y="11047"/>
                </a:lnTo>
                <a:lnTo>
                  <a:pt x="16297" y="10599"/>
                </a:lnTo>
                <a:lnTo>
                  <a:pt x="16408" y="10151"/>
                </a:lnTo>
                <a:lnTo>
                  <a:pt x="16495" y="9699"/>
                </a:lnTo>
                <a:lnTo>
                  <a:pt x="16560" y="9248"/>
                </a:lnTo>
                <a:lnTo>
                  <a:pt x="16601" y="8796"/>
                </a:lnTo>
                <a:lnTo>
                  <a:pt x="16621" y="8346"/>
                </a:lnTo>
                <a:lnTo>
                  <a:pt x="16617" y="7898"/>
                </a:lnTo>
                <a:lnTo>
                  <a:pt x="16590" y="7452"/>
                </a:lnTo>
                <a:lnTo>
                  <a:pt x="16540" y="7011"/>
                </a:lnTo>
                <a:lnTo>
                  <a:pt x="16468" y="6575"/>
                </a:lnTo>
                <a:lnTo>
                  <a:pt x="16371" y="6145"/>
                </a:lnTo>
                <a:lnTo>
                  <a:pt x="16251" y="5721"/>
                </a:lnTo>
                <a:lnTo>
                  <a:pt x="16109" y="5305"/>
                </a:lnTo>
                <a:lnTo>
                  <a:pt x="15942" y="4898"/>
                </a:lnTo>
                <a:lnTo>
                  <a:pt x="15753" y="4499"/>
                </a:lnTo>
                <a:lnTo>
                  <a:pt x="15539" y="4112"/>
                </a:lnTo>
                <a:lnTo>
                  <a:pt x="15303" y="3735"/>
                </a:lnTo>
                <a:lnTo>
                  <a:pt x="15042" y="3371"/>
                </a:lnTo>
                <a:lnTo>
                  <a:pt x="14759" y="3021"/>
                </a:lnTo>
                <a:lnTo>
                  <a:pt x="14450" y="2684"/>
                </a:lnTo>
                <a:lnTo>
                  <a:pt x="14122" y="2364"/>
                </a:lnTo>
                <a:lnTo>
                  <a:pt x="13777" y="2065"/>
                </a:lnTo>
                <a:lnTo>
                  <a:pt x="13415" y="1786"/>
                </a:lnTo>
                <a:lnTo>
                  <a:pt x="13038" y="1527"/>
                </a:lnTo>
                <a:lnTo>
                  <a:pt x="12647" y="1289"/>
                </a:lnTo>
                <a:lnTo>
                  <a:pt x="12242" y="1070"/>
                </a:lnTo>
                <a:lnTo>
                  <a:pt x="11825" y="872"/>
                </a:lnTo>
                <a:lnTo>
                  <a:pt x="11397" y="694"/>
                </a:lnTo>
                <a:lnTo>
                  <a:pt x="10958" y="536"/>
                </a:lnTo>
                <a:lnTo>
                  <a:pt x="10509" y="399"/>
                </a:lnTo>
                <a:lnTo>
                  <a:pt x="10050" y="281"/>
                </a:lnTo>
                <a:lnTo>
                  <a:pt x="9585" y="185"/>
                </a:lnTo>
                <a:lnTo>
                  <a:pt x="9112" y="108"/>
                </a:lnTo>
                <a:lnTo>
                  <a:pt x="8633" y="51"/>
                </a:lnTo>
                <a:lnTo>
                  <a:pt x="8149" y="15"/>
                </a:lnTo>
                <a:lnTo>
                  <a:pt x="7661" y="0"/>
                </a:lnTo>
                <a:lnTo>
                  <a:pt x="7169" y="4"/>
                </a:lnTo>
                <a:lnTo>
                  <a:pt x="6674" y="29"/>
                </a:lnTo>
                <a:lnTo>
                  <a:pt x="6178" y="75"/>
                </a:lnTo>
                <a:lnTo>
                  <a:pt x="5681" y="141"/>
                </a:lnTo>
                <a:lnTo>
                  <a:pt x="5185" y="226"/>
                </a:lnTo>
                <a:lnTo>
                  <a:pt x="4691" y="333"/>
                </a:lnTo>
                <a:lnTo>
                  <a:pt x="4197" y="460"/>
                </a:lnTo>
                <a:lnTo>
                  <a:pt x="3706" y="607"/>
                </a:lnTo>
                <a:lnTo>
                  <a:pt x="3220" y="775"/>
                </a:lnTo>
                <a:lnTo>
                  <a:pt x="2739" y="963"/>
                </a:lnTo>
                <a:lnTo>
                  <a:pt x="2262" y="1171"/>
                </a:lnTo>
                <a:lnTo>
                  <a:pt x="1793" y="1401"/>
                </a:lnTo>
                <a:lnTo>
                  <a:pt x="1331" y="1650"/>
                </a:lnTo>
                <a:lnTo>
                  <a:pt x="878" y="1919"/>
                </a:lnTo>
                <a:lnTo>
                  <a:pt x="433" y="2209"/>
                </a:lnTo>
                <a:lnTo>
                  <a:pt x="0" y="2520"/>
                </a:lnTo>
              </a:path>
            </a:pathLst>
          </a:custGeom>
          <a:noFill/>
          <a:ln w="12700">
            <a:solidFill>
              <a:srgbClr val="7F7F7F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2814782" y="1982697"/>
            <a:ext cx="728018" cy="728014"/>
          </a:xfrm>
          <a:prstGeom prst="ellipse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5626054" y="2595756"/>
            <a:ext cx="728018" cy="728014"/>
          </a:xfrm>
          <a:prstGeom prst="ellipse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430816" y="4791720"/>
            <a:ext cx="728018" cy="728014"/>
          </a:xfrm>
          <a:prstGeom prst="ellipse">
            <a:avLst/>
          </a:prstGeom>
          <a:solidFill>
            <a:srgbClr val="227C13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2745932" y="3599321"/>
            <a:ext cx="728018" cy="728014"/>
          </a:xfrm>
          <a:prstGeom prst="ellipse">
            <a:avLst/>
          </a:prstGeom>
          <a:solidFill>
            <a:srgbClr val="7F7F7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4110282" y="3295319"/>
            <a:ext cx="1026304" cy="1026298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ectangle 33"/>
          <p:cNvSpPr>
            <a:spLocks/>
          </p:cNvSpPr>
          <p:nvPr/>
        </p:nvSpPr>
        <p:spPr bwMode="auto">
          <a:xfrm>
            <a:off x="1745412" y="2204717"/>
            <a:ext cx="1178495" cy="28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dirty="0" smtClean="0"/>
              <a:t>Identify the Goal</a:t>
            </a:r>
            <a:endParaRPr lang="en-US" sz="1100" dirty="0"/>
          </a:p>
        </p:txBody>
      </p:sp>
      <p:sp>
        <p:nvSpPr>
          <p:cNvPr id="38" name="Rectangle 33"/>
          <p:cNvSpPr>
            <a:spLocks/>
          </p:cNvSpPr>
          <p:nvPr/>
        </p:nvSpPr>
        <p:spPr bwMode="auto">
          <a:xfrm>
            <a:off x="6450683" y="2817776"/>
            <a:ext cx="1178495" cy="28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dirty="0" smtClean="0"/>
              <a:t>Make a Plan</a:t>
            </a:r>
            <a:endParaRPr lang="en-US" sz="1100" dirty="0"/>
          </a:p>
        </p:txBody>
      </p:sp>
      <p:sp>
        <p:nvSpPr>
          <p:cNvPr id="39" name="Rectangle 33"/>
          <p:cNvSpPr>
            <a:spLocks/>
          </p:cNvSpPr>
          <p:nvPr/>
        </p:nvSpPr>
        <p:spPr bwMode="auto">
          <a:xfrm>
            <a:off x="4205577" y="5519734"/>
            <a:ext cx="1178495" cy="28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dirty="0" smtClean="0"/>
              <a:t>See if it is Working</a:t>
            </a:r>
            <a:endParaRPr lang="en-US" sz="1100" dirty="0"/>
          </a:p>
        </p:txBody>
      </p:sp>
      <p:sp>
        <p:nvSpPr>
          <p:cNvPr id="40" name="Rectangle 33"/>
          <p:cNvSpPr>
            <a:spLocks/>
          </p:cNvSpPr>
          <p:nvPr/>
        </p:nvSpPr>
        <p:spPr bwMode="auto">
          <a:xfrm>
            <a:off x="1931446" y="3872038"/>
            <a:ext cx="1178495" cy="28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dirty="0" smtClean="0"/>
              <a:t>Take Action</a:t>
            </a:r>
            <a:endParaRPr lang="en-US" sz="1100" dirty="0"/>
          </a:p>
        </p:txBody>
      </p:sp>
      <p:sp>
        <p:nvSpPr>
          <p:cNvPr id="41" name="Rectangle 33"/>
          <p:cNvSpPr>
            <a:spLocks/>
          </p:cNvSpPr>
          <p:nvPr/>
        </p:nvSpPr>
        <p:spPr bwMode="auto">
          <a:xfrm>
            <a:off x="4176342" y="4289578"/>
            <a:ext cx="1178495" cy="28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dirty="0" smtClean="0"/>
              <a:t>Reach the Goal</a:t>
            </a:r>
            <a:endParaRPr lang="en-US" sz="11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4270302" y="3448050"/>
            <a:ext cx="726898" cy="726898"/>
            <a:chOff x="3174526" y="2173970"/>
            <a:chExt cx="1733550" cy="1733550"/>
          </a:xfrm>
          <a:solidFill>
            <a:schemeClr val="bg1"/>
          </a:solidFill>
        </p:grpSpPr>
        <p:sp>
          <p:nvSpPr>
            <p:cNvPr id="19" name="Freeform 8"/>
            <p:cNvSpPr>
              <a:spLocks noEditPoints="1"/>
            </p:cNvSpPr>
            <p:nvPr/>
          </p:nvSpPr>
          <p:spPr bwMode="auto">
            <a:xfrm>
              <a:off x="3174526" y="2173970"/>
              <a:ext cx="1733550" cy="1733550"/>
            </a:xfrm>
            <a:custGeom>
              <a:avLst/>
              <a:gdLst>
                <a:gd name="T0" fmla="*/ 2043 w 3456"/>
                <a:gd name="T1" fmla="*/ 373 h 3456"/>
                <a:gd name="T2" fmla="*/ 2320 w 3456"/>
                <a:gd name="T3" fmla="*/ 469 h 3456"/>
                <a:gd name="T4" fmla="*/ 2567 w 3456"/>
                <a:gd name="T5" fmla="*/ 619 h 3456"/>
                <a:gd name="T6" fmla="*/ 2777 w 3456"/>
                <a:gd name="T7" fmla="*/ 814 h 3456"/>
                <a:gd name="T8" fmla="*/ 2942 w 3456"/>
                <a:gd name="T9" fmla="*/ 1050 h 3456"/>
                <a:gd name="T10" fmla="*/ 3057 w 3456"/>
                <a:gd name="T11" fmla="*/ 1318 h 3456"/>
                <a:gd name="T12" fmla="*/ 3113 w 3456"/>
                <a:gd name="T13" fmla="*/ 1611 h 3456"/>
                <a:gd name="T14" fmla="*/ 3106 w 3456"/>
                <a:gd name="T15" fmla="*/ 1913 h 3456"/>
                <a:gd name="T16" fmla="*/ 3037 w 3456"/>
                <a:gd name="T17" fmla="*/ 2201 h 3456"/>
                <a:gd name="T18" fmla="*/ 2909 w 3456"/>
                <a:gd name="T19" fmla="*/ 2461 h 3456"/>
                <a:gd name="T20" fmla="*/ 2733 w 3456"/>
                <a:gd name="T21" fmla="*/ 2689 h 3456"/>
                <a:gd name="T22" fmla="*/ 2515 w 3456"/>
                <a:gd name="T23" fmla="*/ 2875 h 3456"/>
                <a:gd name="T24" fmla="*/ 2260 w 3456"/>
                <a:gd name="T25" fmla="*/ 3013 h 3456"/>
                <a:gd name="T26" fmla="*/ 1977 w 3456"/>
                <a:gd name="T27" fmla="*/ 3096 h 3456"/>
                <a:gd name="T28" fmla="*/ 1678 w 3456"/>
                <a:gd name="T29" fmla="*/ 3118 h 3456"/>
                <a:gd name="T30" fmla="*/ 1380 w 3456"/>
                <a:gd name="T31" fmla="*/ 3076 h 3456"/>
                <a:gd name="T32" fmla="*/ 1107 w 3456"/>
                <a:gd name="T33" fmla="*/ 2973 h 3456"/>
                <a:gd name="T34" fmla="*/ 863 w 3456"/>
                <a:gd name="T35" fmla="*/ 2818 h 3456"/>
                <a:gd name="T36" fmla="*/ 658 w 3456"/>
                <a:gd name="T37" fmla="*/ 2617 h 3456"/>
                <a:gd name="T38" fmla="*/ 498 w 3456"/>
                <a:gd name="T39" fmla="*/ 2378 h 3456"/>
                <a:gd name="T40" fmla="*/ 389 w 3456"/>
                <a:gd name="T41" fmla="*/ 2107 h 3456"/>
                <a:gd name="T42" fmla="*/ 339 w 3456"/>
                <a:gd name="T43" fmla="*/ 1811 h 3456"/>
                <a:gd name="T44" fmla="*/ 354 w 3456"/>
                <a:gd name="T45" fmla="*/ 1511 h 3456"/>
                <a:gd name="T46" fmla="*/ 431 w 3456"/>
                <a:gd name="T47" fmla="*/ 1226 h 3456"/>
                <a:gd name="T48" fmla="*/ 563 w 3456"/>
                <a:gd name="T49" fmla="*/ 968 h 3456"/>
                <a:gd name="T50" fmla="*/ 744 w 3456"/>
                <a:gd name="T51" fmla="*/ 744 h 3456"/>
                <a:gd name="T52" fmla="*/ 968 w 3456"/>
                <a:gd name="T53" fmla="*/ 564 h 3456"/>
                <a:gd name="T54" fmla="*/ 1225 w 3456"/>
                <a:gd name="T55" fmla="*/ 431 h 3456"/>
                <a:gd name="T56" fmla="*/ 1511 w 3456"/>
                <a:gd name="T57" fmla="*/ 354 h 3456"/>
                <a:gd name="T58" fmla="*/ 2572 w 3456"/>
                <a:gd name="T59" fmla="*/ 883 h 3456"/>
                <a:gd name="T60" fmla="*/ 2372 w 3456"/>
                <a:gd name="T61" fmla="*/ 723 h 3456"/>
                <a:gd name="T62" fmla="*/ 2138 w 3456"/>
                <a:gd name="T63" fmla="*/ 607 h 3456"/>
                <a:gd name="T64" fmla="*/ 1880 w 3456"/>
                <a:gd name="T65" fmla="*/ 544 h 3456"/>
                <a:gd name="T66" fmla="*/ 1606 w 3456"/>
                <a:gd name="T67" fmla="*/ 540 h 3456"/>
                <a:gd name="T68" fmla="*/ 1345 w 3456"/>
                <a:gd name="T69" fmla="*/ 597 h 3456"/>
                <a:gd name="T70" fmla="*/ 1109 w 3456"/>
                <a:gd name="T71" fmla="*/ 707 h 3456"/>
                <a:gd name="T72" fmla="*/ 904 w 3456"/>
                <a:gd name="T73" fmla="*/ 864 h 3456"/>
                <a:gd name="T74" fmla="*/ 738 w 3456"/>
                <a:gd name="T75" fmla="*/ 1061 h 3456"/>
                <a:gd name="T76" fmla="*/ 617 w 3456"/>
                <a:gd name="T77" fmla="*/ 1291 h 3456"/>
                <a:gd name="T78" fmla="*/ 548 w 3456"/>
                <a:gd name="T79" fmla="*/ 1547 h 3456"/>
                <a:gd name="T80" fmla="*/ 537 w 3456"/>
                <a:gd name="T81" fmla="*/ 1820 h 3456"/>
                <a:gd name="T82" fmla="*/ 588 w 3456"/>
                <a:gd name="T83" fmla="*/ 2083 h 3456"/>
                <a:gd name="T84" fmla="*/ 692 w 3456"/>
                <a:gd name="T85" fmla="*/ 2322 h 3456"/>
                <a:gd name="T86" fmla="*/ 843 w 3456"/>
                <a:gd name="T87" fmla="*/ 2532 h 3456"/>
                <a:gd name="T88" fmla="*/ 1037 w 3456"/>
                <a:gd name="T89" fmla="*/ 2702 h 3456"/>
                <a:gd name="T90" fmla="*/ 1262 w 3456"/>
                <a:gd name="T91" fmla="*/ 2829 h 3456"/>
                <a:gd name="T92" fmla="*/ 1516 w 3456"/>
                <a:gd name="T93" fmla="*/ 2903 h 3456"/>
                <a:gd name="T94" fmla="*/ 1789 w 3456"/>
                <a:gd name="T95" fmla="*/ 2920 h 3456"/>
                <a:gd name="T96" fmla="*/ 2054 w 3456"/>
                <a:gd name="T97" fmla="*/ 2877 h 3456"/>
                <a:gd name="T98" fmla="*/ 2297 w 3456"/>
                <a:gd name="T99" fmla="*/ 2778 h 3456"/>
                <a:gd name="T100" fmla="*/ 2509 w 3456"/>
                <a:gd name="T101" fmla="*/ 2631 h 3456"/>
                <a:gd name="T102" fmla="*/ 2685 w 3456"/>
                <a:gd name="T103" fmla="*/ 2443 h 3456"/>
                <a:gd name="T104" fmla="*/ 2816 w 3456"/>
                <a:gd name="T105" fmla="*/ 2219 h 3456"/>
                <a:gd name="T106" fmla="*/ 2897 w 3456"/>
                <a:gd name="T107" fmla="*/ 1969 h 3456"/>
                <a:gd name="T108" fmla="*/ 2921 w 3456"/>
                <a:gd name="T109" fmla="*/ 1698 h 3456"/>
                <a:gd name="T110" fmla="*/ 2885 w 3456"/>
                <a:gd name="T111" fmla="*/ 1430 h 3456"/>
                <a:gd name="T112" fmla="*/ 2791 w 3456"/>
                <a:gd name="T113" fmla="*/ 1185 h 3456"/>
                <a:gd name="T114" fmla="*/ 2649 w 3456"/>
                <a:gd name="T115" fmla="*/ 969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56" h="3456">
                  <a:moveTo>
                    <a:pt x="1777" y="338"/>
                  </a:moveTo>
                  <a:lnTo>
                    <a:pt x="1811" y="340"/>
                  </a:lnTo>
                  <a:lnTo>
                    <a:pt x="1845" y="342"/>
                  </a:lnTo>
                  <a:lnTo>
                    <a:pt x="1878" y="346"/>
                  </a:lnTo>
                  <a:lnTo>
                    <a:pt x="1912" y="349"/>
                  </a:lnTo>
                  <a:lnTo>
                    <a:pt x="1945" y="354"/>
                  </a:lnTo>
                  <a:lnTo>
                    <a:pt x="1977" y="360"/>
                  </a:lnTo>
                  <a:lnTo>
                    <a:pt x="2011" y="366"/>
                  </a:lnTo>
                  <a:lnTo>
                    <a:pt x="2043" y="373"/>
                  </a:lnTo>
                  <a:lnTo>
                    <a:pt x="2075" y="381"/>
                  </a:lnTo>
                  <a:lnTo>
                    <a:pt x="2107" y="390"/>
                  </a:lnTo>
                  <a:lnTo>
                    <a:pt x="2138" y="399"/>
                  </a:lnTo>
                  <a:lnTo>
                    <a:pt x="2170" y="409"/>
                  </a:lnTo>
                  <a:lnTo>
                    <a:pt x="2200" y="419"/>
                  </a:lnTo>
                  <a:lnTo>
                    <a:pt x="2230" y="431"/>
                  </a:lnTo>
                  <a:lnTo>
                    <a:pt x="2260" y="443"/>
                  </a:lnTo>
                  <a:lnTo>
                    <a:pt x="2291" y="456"/>
                  </a:lnTo>
                  <a:lnTo>
                    <a:pt x="2320" y="469"/>
                  </a:lnTo>
                  <a:lnTo>
                    <a:pt x="2349" y="484"/>
                  </a:lnTo>
                  <a:lnTo>
                    <a:pt x="2378" y="498"/>
                  </a:lnTo>
                  <a:lnTo>
                    <a:pt x="2406" y="513"/>
                  </a:lnTo>
                  <a:lnTo>
                    <a:pt x="2434" y="529"/>
                  </a:lnTo>
                  <a:lnTo>
                    <a:pt x="2461" y="546"/>
                  </a:lnTo>
                  <a:lnTo>
                    <a:pt x="2488" y="564"/>
                  </a:lnTo>
                  <a:lnTo>
                    <a:pt x="2515" y="581"/>
                  </a:lnTo>
                  <a:lnTo>
                    <a:pt x="2541" y="599"/>
                  </a:lnTo>
                  <a:lnTo>
                    <a:pt x="2567" y="619"/>
                  </a:lnTo>
                  <a:lnTo>
                    <a:pt x="2592" y="638"/>
                  </a:lnTo>
                  <a:lnTo>
                    <a:pt x="2617" y="659"/>
                  </a:lnTo>
                  <a:lnTo>
                    <a:pt x="2642" y="679"/>
                  </a:lnTo>
                  <a:lnTo>
                    <a:pt x="2665" y="701"/>
                  </a:lnTo>
                  <a:lnTo>
                    <a:pt x="2688" y="723"/>
                  </a:lnTo>
                  <a:lnTo>
                    <a:pt x="2711" y="744"/>
                  </a:lnTo>
                  <a:lnTo>
                    <a:pt x="2733" y="768"/>
                  </a:lnTo>
                  <a:lnTo>
                    <a:pt x="2755" y="791"/>
                  </a:lnTo>
                  <a:lnTo>
                    <a:pt x="2777" y="814"/>
                  </a:lnTo>
                  <a:lnTo>
                    <a:pt x="2797" y="839"/>
                  </a:lnTo>
                  <a:lnTo>
                    <a:pt x="2818" y="864"/>
                  </a:lnTo>
                  <a:lnTo>
                    <a:pt x="2837" y="889"/>
                  </a:lnTo>
                  <a:lnTo>
                    <a:pt x="2856" y="915"/>
                  </a:lnTo>
                  <a:lnTo>
                    <a:pt x="2875" y="941"/>
                  </a:lnTo>
                  <a:lnTo>
                    <a:pt x="2892" y="968"/>
                  </a:lnTo>
                  <a:lnTo>
                    <a:pt x="2909" y="995"/>
                  </a:lnTo>
                  <a:lnTo>
                    <a:pt x="2927" y="1022"/>
                  </a:lnTo>
                  <a:lnTo>
                    <a:pt x="2942" y="1050"/>
                  </a:lnTo>
                  <a:lnTo>
                    <a:pt x="2958" y="1078"/>
                  </a:lnTo>
                  <a:lnTo>
                    <a:pt x="2972" y="1107"/>
                  </a:lnTo>
                  <a:lnTo>
                    <a:pt x="2986" y="1136"/>
                  </a:lnTo>
                  <a:lnTo>
                    <a:pt x="3000" y="1165"/>
                  </a:lnTo>
                  <a:lnTo>
                    <a:pt x="3013" y="1196"/>
                  </a:lnTo>
                  <a:lnTo>
                    <a:pt x="3025" y="1226"/>
                  </a:lnTo>
                  <a:lnTo>
                    <a:pt x="3037" y="1256"/>
                  </a:lnTo>
                  <a:lnTo>
                    <a:pt x="3047" y="1286"/>
                  </a:lnTo>
                  <a:lnTo>
                    <a:pt x="3057" y="1318"/>
                  </a:lnTo>
                  <a:lnTo>
                    <a:pt x="3066" y="1349"/>
                  </a:lnTo>
                  <a:lnTo>
                    <a:pt x="3075" y="1381"/>
                  </a:lnTo>
                  <a:lnTo>
                    <a:pt x="3082" y="1413"/>
                  </a:lnTo>
                  <a:lnTo>
                    <a:pt x="3090" y="1445"/>
                  </a:lnTo>
                  <a:lnTo>
                    <a:pt x="3096" y="1479"/>
                  </a:lnTo>
                  <a:lnTo>
                    <a:pt x="3102" y="1511"/>
                  </a:lnTo>
                  <a:lnTo>
                    <a:pt x="3106" y="1544"/>
                  </a:lnTo>
                  <a:lnTo>
                    <a:pt x="3110" y="1578"/>
                  </a:lnTo>
                  <a:lnTo>
                    <a:pt x="3113" y="1611"/>
                  </a:lnTo>
                  <a:lnTo>
                    <a:pt x="3116" y="1645"/>
                  </a:lnTo>
                  <a:lnTo>
                    <a:pt x="3118" y="1679"/>
                  </a:lnTo>
                  <a:lnTo>
                    <a:pt x="3456" y="1679"/>
                  </a:lnTo>
                  <a:lnTo>
                    <a:pt x="3456" y="1778"/>
                  </a:lnTo>
                  <a:lnTo>
                    <a:pt x="3118" y="1778"/>
                  </a:lnTo>
                  <a:lnTo>
                    <a:pt x="3116" y="1811"/>
                  </a:lnTo>
                  <a:lnTo>
                    <a:pt x="3113" y="1846"/>
                  </a:lnTo>
                  <a:lnTo>
                    <a:pt x="3110" y="1879"/>
                  </a:lnTo>
                  <a:lnTo>
                    <a:pt x="3106" y="1913"/>
                  </a:lnTo>
                  <a:lnTo>
                    <a:pt x="3102" y="1945"/>
                  </a:lnTo>
                  <a:lnTo>
                    <a:pt x="3096" y="1979"/>
                  </a:lnTo>
                  <a:lnTo>
                    <a:pt x="3090" y="2011"/>
                  </a:lnTo>
                  <a:lnTo>
                    <a:pt x="3082" y="2043"/>
                  </a:lnTo>
                  <a:lnTo>
                    <a:pt x="3075" y="2076"/>
                  </a:lnTo>
                  <a:lnTo>
                    <a:pt x="3066" y="2107"/>
                  </a:lnTo>
                  <a:lnTo>
                    <a:pt x="3057" y="2138"/>
                  </a:lnTo>
                  <a:lnTo>
                    <a:pt x="3047" y="2170"/>
                  </a:lnTo>
                  <a:lnTo>
                    <a:pt x="3037" y="2201"/>
                  </a:lnTo>
                  <a:lnTo>
                    <a:pt x="3025" y="2231"/>
                  </a:lnTo>
                  <a:lnTo>
                    <a:pt x="3013" y="2262"/>
                  </a:lnTo>
                  <a:lnTo>
                    <a:pt x="3000" y="2291"/>
                  </a:lnTo>
                  <a:lnTo>
                    <a:pt x="2986" y="2320"/>
                  </a:lnTo>
                  <a:lnTo>
                    <a:pt x="2972" y="2349"/>
                  </a:lnTo>
                  <a:lnTo>
                    <a:pt x="2958" y="2378"/>
                  </a:lnTo>
                  <a:lnTo>
                    <a:pt x="2942" y="2406"/>
                  </a:lnTo>
                  <a:lnTo>
                    <a:pt x="2927" y="2434"/>
                  </a:lnTo>
                  <a:lnTo>
                    <a:pt x="2909" y="2461"/>
                  </a:lnTo>
                  <a:lnTo>
                    <a:pt x="2892" y="2488"/>
                  </a:lnTo>
                  <a:lnTo>
                    <a:pt x="2875" y="2515"/>
                  </a:lnTo>
                  <a:lnTo>
                    <a:pt x="2856" y="2541"/>
                  </a:lnTo>
                  <a:lnTo>
                    <a:pt x="2837" y="2567"/>
                  </a:lnTo>
                  <a:lnTo>
                    <a:pt x="2818" y="2593"/>
                  </a:lnTo>
                  <a:lnTo>
                    <a:pt x="2797" y="2617"/>
                  </a:lnTo>
                  <a:lnTo>
                    <a:pt x="2777" y="2642"/>
                  </a:lnTo>
                  <a:lnTo>
                    <a:pt x="2755" y="2665"/>
                  </a:lnTo>
                  <a:lnTo>
                    <a:pt x="2733" y="2689"/>
                  </a:lnTo>
                  <a:lnTo>
                    <a:pt x="2711" y="2712"/>
                  </a:lnTo>
                  <a:lnTo>
                    <a:pt x="2688" y="2735"/>
                  </a:lnTo>
                  <a:lnTo>
                    <a:pt x="2665" y="2756"/>
                  </a:lnTo>
                  <a:lnTo>
                    <a:pt x="2642" y="2777"/>
                  </a:lnTo>
                  <a:lnTo>
                    <a:pt x="2617" y="2798"/>
                  </a:lnTo>
                  <a:lnTo>
                    <a:pt x="2592" y="2818"/>
                  </a:lnTo>
                  <a:lnTo>
                    <a:pt x="2567" y="2837"/>
                  </a:lnTo>
                  <a:lnTo>
                    <a:pt x="2541" y="2857"/>
                  </a:lnTo>
                  <a:lnTo>
                    <a:pt x="2515" y="2875"/>
                  </a:lnTo>
                  <a:lnTo>
                    <a:pt x="2488" y="2893"/>
                  </a:lnTo>
                  <a:lnTo>
                    <a:pt x="2461" y="2911"/>
                  </a:lnTo>
                  <a:lnTo>
                    <a:pt x="2434" y="2927"/>
                  </a:lnTo>
                  <a:lnTo>
                    <a:pt x="2406" y="2943"/>
                  </a:lnTo>
                  <a:lnTo>
                    <a:pt x="2378" y="2958"/>
                  </a:lnTo>
                  <a:lnTo>
                    <a:pt x="2349" y="2973"/>
                  </a:lnTo>
                  <a:lnTo>
                    <a:pt x="2320" y="2987"/>
                  </a:lnTo>
                  <a:lnTo>
                    <a:pt x="2291" y="3000"/>
                  </a:lnTo>
                  <a:lnTo>
                    <a:pt x="2260" y="3013"/>
                  </a:lnTo>
                  <a:lnTo>
                    <a:pt x="2230" y="3025"/>
                  </a:lnTo>
                  <a:lnTo>
                    <a:pt x="2200" y="3037"/>
                  </a:lnTo>
                  <a:lnTo>
                    <a:pt x="2170" y="3048"/>
                  </a:lnTo>
                  <a:lnTo>
                    <a:pt x="2138" y="3057"/>
                  </a:lnTo>
                  <a:lnTo>
                    <a:pt x="2107" y="3067"/>
                  </a:lnTo>
                  <a:lnTo>
                    <a:pt x="2075" y="3076"/>
                  </a:lnTo>
                  <a:lnTo>
                    <a:pt x="2043" y="3083"/>
                  </a:lnTo>
                  <a:lnTo>
                    <a:pt x="2011" y="3090"/>
                  </a:lnTo>
                  <a:lnTo>
                    <a:pt x="1977" y="3096"/>
                  </a:lnTo>
                  <a:lnTo>
                    <a:pt x="1945" y="3102"/>
                  </a:lnTo>
                  <a:lnTo>
                    <a:pt x="1912" y="3107"/>
                  </a:lnTo>
                  <a:lnTo>
                    <a:pt x="1878" y="3111"/>
                  </a:lnTo>
                  <a:lnTo>
                    <a:pt x="1845" y="3115"/>
                  </a:lnTo>
                  <a:lnTo>
                    <a:pt x="1811" y="3117"/>
                  </a:lnTo>
                  <a:lnTo>
                    <a:pt x="1777" y="3118"/>
                  </a:lnTo>
                  <a:lnTo>
                    <a:pt x="1777" y="3456"/>
                  </a:lnTo>
                  <a:lnTo>
                    <a:pt x="1678" y="3456"/>
                  </a:lnTo>
                  <a:lnTo>
                    <a:pt x="1678" y="3118"/>
                  </a:lnTo>
                  <a:lnTo>
                    <a:pt x="1645" y="3117"/>
                  </a:lnTo>
                  <a:lnTo>
                    <a:pt x="1610" y="3115"/>
                  </a:lnTo>
                  <a:lnTo>
                    <a:pt x="1577" y="3111"/>
                  </a:lnTo>
                  <a:lnTo>
                    <a:pt x="1543" y="3107"/>
                  </a:lnTo>
                  <a:lnTo>
                    <a:pt x="1511" y="3102"/>
                  </a:lnTo>
                  <a:lnTo>
                    <a:pt x="1477" y="3096"/>
                  </a:lnTo>
                  <a:lnTo>
                    <a:pt x="1445" y="3090"/>
                  </a:lnTo>
                  <a:lnTo>
                    <a:pt x="1413" y="3083"/>
                  </a:lnTo>
                  <a:lnTo>
                    <a:pt x="1380" y="3076"/>
                  </a:lnTo>
                  <a:lnTo>
                    <a:pt x="1349" y="3067"/>
                  </a:lnTo>
                  <a:lnTo>
                    <a:pt x="1318" y="3057"/>
                  </a:lnTo>
                  <a:lnTo>
                    <a:pt x="1286" y="3048"/>
                  </a:lnTo>
                  <a:lnTo>
                    <a:pt x="1255" y="3037"/>
                  </a:lnTo>
                  <a:lnTo>
                    <a:pt x="1225" y="3025"/>
                  </a:lnTo>
                  <a:lnTo>
                    <a:pt x="1194" y="3013"/>
                  </a:lnTo>
                  <a:lnTo>
                    <a:pt x="1165" y="3000"/>
                  </a:lnTo>
                  <a:lnTo>
                    <a:pt x="1136" y="2987"/>
                  </a:lnTo>
                  <a:lnTo>
                    <a:pt x="1107" y="2973"/>
                  </a:lnTo>
                  <a:lnTo>
                    <a:pt x="1078" y="2958"/>
                  </a:lnTo>
                  <a:lnTo>
                    <a:pt x="1050" y="2943"/>
                  </a:lnTo>
                  <a:lnTo>
                    <a:pt x="1022" y="2927"/>
                  </a:lnTo>
                  <a:lnTo>
                    <a:pt x="995" y="2911"/>
                  </a:lnTo>
                  <a:lnTo>
                    <a:pt x="968" y="2893"/>
                  </a:lnTo>
                  <a:lnTo>
                    <a:pt x="941" y="2875"/>
                  </a:lnTo>
                  <a:lnTo>
                    <a:pt x="915" y="2857"/>
                  </a:lnTo>
                  <a:lnTo>
                    <a:pt x="889" y="2837"/>
                  </a:lnTo>
                  <a:lnTo>
                    <a:pt x="863" y="2818"/>
                  </a:lnTo>
                  <a:lnTo>
                    <a:pt x="839" y="2798"/>
                  </a:lnTo>
                  <a:lnTo>
                    <a:pt x="814" y="2777"/>
                  </a:lnTo>
                  <a:lnTo>
                    <a:pt x="791" y="2756"/>
                  </a:lnTo>
                  <a:lnTo>
                    <a:pt x="767" y="2735"/>
                  </a:lnTo>
                  <a:lnTo>
                    <a:pt x="744" y="2712"/>
                  </a:lnTo>
                  <a:lnTo>
                    <a:pt x="721" y="2689"/>
                  </a:lnTo>
                  <a:lnTo>
                    <a:pt x="700" y="2665"/>
                  </a:lnTo>
                  <a:lnTo>
                    <a:pt x="679" y="2642"/>
                  </a:lnTo>
                  <a:lnTo>
                    <a:pt x="658" y="2617"/>
                  </a:lnTo>
                  <a:lnTo>
                    <a:pt x="638" y="2593"/>
                  </a:lnTo>
                  <a:lnTo>
                    <a:pt x="619" y="2567"/>
                  </a:lnTo>
                  <a:lnTo>
                    <a:pt x="599" y="2541"/>
                  </a:lnTo>
                  <a:lnTo>
                    <a:pt x="581" y="2515"/>
                  </a:lnTo>
                  <a:lnTo>
                    <a:pt x="563" y="2488"/>
                  </a:lnTo>
                  <a:lnTo>
                    <a:pt x="545" y="2461"/>
                  </a:lnTo>
                  <a:lnTo>
                    <a:pt x="529" y="2434"/>
                  </a:lnTo>
                  <a:lnTo>
                    <a:pt x="513" y="2406"/>
                  </a:lnTo>
                  <a:lnTo>
                    <a:pt x="498" y="2378"/>
                  </a:lnTo>
                  <a:lnTo>
                    <a:pt x="483" y="2349"/>
                  </a:lnTo>
                  <a:lnTo>
                    <a:pt x="469" y="2320"/>
                  </a:lnTo>
                  <a:lnTo>
                    <a:pt x="456" y="2291"/>
                  </a:lnTo>
                  <a:lnTo>
                    <a:pt x="443" y="2262"/>
                  </a:lnTo>
                  <a:lnTo>
                    <a:pt x="431" y="2231"/>
                  </a:lnTo>
                  <a:lnTo>
                    <a:pt x="419" y="2201"/>
                  </a:lnTo>
                  <a:lnTo>
                    <a:pt x="408" y="2170"/>
                  </a:lnTo>
                  <a:lnTo>
                    <a:pt x="399" y="2138"/>
                  </a:lnTo>
                  <a:lnTo>
                    <a:pt x="389" y="2107"/>
                  </a:lnTo>
                  <a:lnTo>
                    <a:pt x="380" y="2076"/>
                  </a:lnTo>
                  <a:lnTo>
                    <a:pt x="373" y="2043"/>
                  </a:lnTo>
                  <a:lnTo>
                    <a:pt x="366" y="2011"/>
                  </a:lnTo>
                  <a:lnTo>
                    <a:pt x="360" y="1979"/>
                  </a:lnTo>
                  <a:lnTo>
                    <a:pt x="354" y="1945"/>
                  </a:lnTo>
                  <a:lnTo>
                    <a:pt x="349" y="1913"/>
                  </a:lnTo>
                  <a:lnTo>
                    <a:pt x="345" y="1879"/>
                  </a:lnTo>
                  <a:lnTo>
                    <a:pt x="341" y="1846"/>
                  </a:lnTo>
                  <a:lnTo>
                    <a:pt x="339" y="1811"/>
                  </a:lnTo>
                  <a:lnTo>
                    <a:pt x="338" y="1778"/>
                  </a:lnTo>
                  <a:lnTo>
                    <a:pt x="0" y="1778"/>
                  </a:lnTo>
                  <a:lnTo>
                    <a:pt x="0" y="1679"/>
                  </a:lnTo>
                  <a:lnTo>
                    <a:pt x="338" y="1679"/>
                  </a:lnTo>
                  <a:lnTo>
                    <a:pt x="339" y="1645"/>
                  </a:lnTo>
                  <a:lnTo>
                    <a:pt x="341" y="1611"/>
                  </a:lnTo>
                  <a:lnTo>
                    <a:pt x="345" y="1578"/>
                  </a:lnTo>
                  <a:lnTo>
                    <a:pt x="349" y="1544"/>
                  </a:lnTo>
                  <a:lnTo>
                    <a:pt x="354" y="1511"/>
                  </a:lnTo>
                  <a:lnTo>
                    <a:pt x="360" y="1479"/>
                  </a:lnTo>
                  <a:lnTo>
                    <a:pt x="366" y="1445"/>
                  </a:lnTo>
                  <a:lnTo>
                    <a:pt x="373" y="1413"/>
                  </a:lnTo>
                  <a:lnTo>
                    <a:pt x="380" y="1381"/>
                  </a:lnTo>
                  <a:lnTo>
                    <a:pt x="389" y="1349"/>
                  </a:lnTo>
                  <a:lnTo>
                    <a:pt x="399" y="1318"/>
                  </a:lnTo>
                  <a:lnTo>
                    <a:pt x="408" y="1286"/>
                  </a:lnTo>
                  <a:lnTo>
                    <a:pt x="419" y="1256"/>
                  </a:lnTo>
                  <a:lnTo>
                    <a:pt x="431" y="1226"/>
                  </a:lnTo>
                  <a:lnTo>
                    <a:pt x="443" y="1196"/>
                  </a:lnTo>
                  <a:lnTo>
                    <a:pt x="456" y="1165"/>
                  </a:lnTo>
                  <a:lnTo>
                    <a:pt x="469" y="1136"/>
                  </a:lnTo>
                  <a:lnTo>
                    <a:pt x="483" y="1107"/>
                  </a:lnTo>
                  <a:lnTo>
                    <a:pt x="498" y="1078"/>
                  </a:lnTo>
                  <a:lnTo>
                    <a:pt x="513" y="1050"/>
                  </a:lnTo>
                  <a:lnTo>
                    <a:pt x="529" y="1022"/>
                  </a:lnTo>
                  <a:lnTo>
                    <a:pt x="545" y="995"/>
                  </a:lnTo>
                  <a:lnTo>
                    <a:pt x="563" y="968"/>
                  </a:lnTo>
                  <a:lnTo>
                    <a:pt x="581" y="941"/>
                  </a:lnTo>
                  <a:lnTo>
                    <a:pt x="599" y="915"/>
                  </a:lnTo>
                  <a:lnTo>
                    <a:pt x="619" y="889"/>
                  </a:lnTo>
                  <a:lnTo>
                    <a:pt x="638" y="864"/>
                  </a:lnTo>
                  <a:lnTo>
                    <a:pt x="658" y="839"/>
                  </a:lnTo>
                  <a:lnTo>
                    <a:pt x="679" y="814"/>
                  </a:lnTo>
                  <a:lnTo>
                    <a:pt x="700" y="791"/>
                  </a:lnTo>
                  <a:lnTo>
                    <a:pt x="721" y="768"/>
                  </a:lnTo>
                  <a:lnTo>
                    <a:pt x="744" y="744"/>
                  </a:lnTo>
                  <a:lnTo>
                    <a:pt x="767" y="723"/>
                  </a:lnTo>
                  <a:lnTo>
                    <a:pt x="791" y="701"/>
                  </a:lnTo>
                  <a:lnTo>
                    <a:pt x="814" y="679"/>
                  </a:lnTo>
                  <a:lnTo>
                    <a:pt x="839" y="659"/>
                  </a:lnTo>
                  <a:lnTo>
                    <a:pt x="863" y="638"/>
                  </a:lnTo>
                  <a:lnTo>
                    <a:pt x="889" y="619"/>
                  </a:lnTo>
                  <a:lnTo>
                    <a:pt x="915" y="599"/>
                  </a:lnTo>
                  <a:lnTo>
                    <a:pt x="941" y="581"/>
                  </a:lnTo>
                  <a:lnTo>
                    <a:pt x="968" y="564"/>
                  </a:lnTo>
                  <a:lnTo>
                    <a:pt x="995" y="546"/>
                  </a:lnTo>
                  <a:lnTo>
                    <a:pt x="1022" y="529"/>
                  </a:lnTo>
                  <a:lnTo>
                    <a:pt x="1050" y="513"/>
                  </a:lnTo>
                  <a:lnTo>
                    <a:pt x="1078" y="498"/>
                  </a:lnTo>
                  <a:lnTo>
                    <a:pt x="1107" y="484"/>
                  </a:lnTo>
                  <a:lnTo>
                    <a:pt x="1136" y="469"/>
                  </a:lnTo>
                  <a:lnTo>
                    <a:pt x="1165" y="456"/>
                  </a:lnTo>
                  <a:lnTo>
                    <a:pt x="1194" y="443"/>
                  </a:lnTo>
                  <a:lnTo>
                    <a:pt x="1225" y="431"/>
                  </a:lnTo>
                  <a:lnTo>
                    <a:pt x="1255" y="419"/>
                  </a:lnTo>
                  <a:lnTo>
                    <a:pt x="1286" y="409"/>
                  </a:lnTo>
                  <a:lnTo>
                    <a:pt x="1318" y="399"/>
                  </a:lnTo>
                  <a:lnTo>
                    <a:pt x="1349" y="390"/>
                  </a:lnTo>
                  <a:lnTo>
                    <a:pt x="1380" y="381"/>
                  </a:lnTo>
                  <a:lnTo>
                    <a:pt x="1413" y="373"/>
                  </a:lnTo>
                  <a:lnTo>
                    <a:pt x="1445" y="366"/>
                  </a:lnTo>
                  <a:lnTo>
                    <a:pt x="1477" y="360"/>
                  </a:lnTo>
                  <a:lnTo>
                    <a:pt x="1511" y="354"/>
                  </a:lnTo>
                  <a:lnTo>
                    <a:pt x="1543" y="349"/>
                  </a:lnTo>
                  <a:lnTo>
                    <a:pt x="1577" y="346"/>
                  </a:lnTo>
                  <a:lnTo>
                    <a:pt x="1610" y="342"/>
                  </a:lnTo>
                  <a:lnTo>
                    <a:pt x="1645" y="340"/>
                  </a:lnTo>
                  <a:lnTo>
                    <a:pt x="1678" y="338"/>
                  </a:lnTo>
                  <a:lnTo>
                    <a:pt x="1678" y="0"/>
                  </a:lnTo>
                  <a:lnTo>
                    <a:pt x="1777" y="0"/>
                  </a:lnTo>
                  <a:lnTo>
                    <a:pt x="1777" y="338"/>
                  </a:lnTo>
                  <a:close/>
                  <a:moveTo>
                    <a:pt x="2572" y="883"/>
                  </a:moveTo>
                  <a:lnTo>
                    <a:pt x="2552" y="864"/>
                  </a:lnTo>
                  <a:lnTo>
                    <a:pt x="2530" y="845"/>
                  </a:lnTo>
                  <a:lnTo>
                    <a:pt x="2509" y="825"/>
                  </a:lnTo>
                  <a:lnTo>
                    <a:pt x="2487" y="807"/>
                  </a:lnTo>
                  <a:lnTo>
                    <a:pt x="2464" y="788"/>
                  </a:lnTo>
                  <a:lnTo>
                    <a:pt x="2442" y="771"/>
                  </a:lnTo>
                  <a:lnTo>
                    <a:pt x="2419" y="755"/>
                  </a:lnTo>
                  <a:lnTo>
                    <a:pt x="2395" y="738"/>
                  </a:lnTo>
                  <a:lnTo>
                    <a:pt x="2372" y="723"/>
                  </a:lnTo>
                  <a:lnTo>
                    <a:pt x="2347" y="707"/>
                  </a:lnTo>
                  <a:lnTo>
                    <a:pt x="2322" y="692"/>
                  </a:lnTo>
                  <a:lnTo>
                    <a:pt x="2297" y="678"/>
                  </a:lnTo>
                  <a:lnTo>
                    <a:pt x="2271" y="665"/>
                  </a:lnTo>
                  <a:lnTo>
                    <a:pt x="2245" y="652"/>
                  </a:lnTo>
                  <a:lnTo>
                    <a:pt x="2219" y="639"/>
                  </a:lnTo>
                  <a:lnTo>
                    <a:pt x="2192" y="627"/>
                  </a:lnTo>
                  <a:lnTo>
                    <a:pt x="2165" y="617"/>
                  </a:lnTo>
                  <a:lnTo>
                    <a:pt x="2138" y="607"/>
                  </a:lnTo>
                  <a:lnTo>
                    <a:pt x="2110" y="597"/>
                  </a:lnTo>
                  <a:lnTo>
                    <a:pt x="2083" y="588"/>
                  </a:lnTo>
                  <a:lnTo>
                    <a:pt x="2054" y="580"/>
                  </a:lnTo>
                  <a:lnTo>
                    <a:pt x="2026" y="571"/>
                  </a:lnTo>
                  <a:lnTo>
                    <a:pt x="1997" y="565"/>
                  </a:lnTo>
                  <a:lnTo>
                    <a:pt x="1969" y="558"/>
                  </a:lnTo>
                  <a:lnTo>
                    <a:pt x="1940" y="553"/>
                  </a:lnTo>
                  <a:lnTo>
                    <a:pt x="1909" y="548"/>
                  </a:lnTo>
                  <a:lnTo>
                    <a:pt x="1880" y="544"/>
                  </a:lnTo>
                  <a:lnTo>
                    <a:pt x="1850" y="540"/>
                  </a:lnTo>
                  <a:lnTo>
                    <a:pt x="1820" y="538"/>
                  </a:lnTo>
                  <a:lnTo>
                    <a:pt x="1789" y="536"/>
                  </a:lnTo>
                  <a:lnTo>
                    <a:pt x="1758" y="535"/>
                  </a:lnTo>
                  <a:lnTo>
                    <a:pt x="1728" y="535"/>
                  </a:lnTo>
                  <a:lnTo>
                    <a:pt x="1697" y="535"/>
                  </a:lnTo>
                  <a:lnTo>
                    <a:pt x="1666" y="536"/>
                  </a:lnTo>
                  <a:lnTo>
                    <a:pt x="1636" y="538"/>
                  </a:lnTo>
                  <a:lnTo>
                    <a:pt x="1606" y="540"/>
                  </a:lnTo>
                  <a:lnTo>
                    <a:pt x="1576" y="544"/>
                  </a:lnTo>
                  <a:lnTo>
                    <a:pt x="1545" y="548"/>
                  </a:lnTo>
                  <a:lnTo>
                    <a:pt x="1516" y="553"/>
                  </a:lnTo>
                  <a:lnTo>
                    <a:pt x="1487" y="558"/>
                  </a:lnTo>
                  <a:lnTo>
                    <a:pt x="1458" y="565"/>
                  </a:lnTo>
                  <a:lnTo>
                    <a:pt x="1430" y="571"/>
                  </a:lnTo>
                  <a:lnTo>
                    <a:pt x="1401" y="580"/>
                  </a:lnTo>
                  <a:lnTo>
                    <a:pt x="1373" y="588"/>
                  </a:lnTo>
                  <a:lnTo>
                    <a:pt x="1345" y="597"/>
                  </a:lnTo>
                  <a:lnTo>
                    <a:pt x="1318" y="607"/>
                  </a:lnTo>
                  <a:lnTo>
                    <a:pt x="1289" y="617"/>
                  </a:lnTo>
                  <a:lnTo>
                    <a:pt x="1262" y="627"/>
                  </a:lnTo>
                  <a:lnTo>
                    <a:pt x="1237" y="639"/>
                  </a:lnTo>
                  <a:lnTo>
                    <a:pt x="1210" y="652"/>
                  </a:lnTo>
                  <a:lnTo>
                    <a:pt x="1184" y="665"/>
                  </a:lnTo>
                  <a:lnTo>
                    <a:pt x="1159" y="678"/>
                  </a:lnTo>
                  <a:lnTo>
                    <a:pt x="1134" y="692"/>
                  </a:lnTo>
                  <a:lnTo>
                    <a:pt x="1109" y="707"/>
                  </a:lnTo>
                  <a:lnTo>
                    <a:pt x="1084" y="723"/>
                  </a:lnTo>
                  <a:lnTo>
                    <a:pt x="1061" y="738"/>
                  </a:lnTo>
                  <a:lnTo>
                    <a:pt x="1037" y="755"/>
                  </a:lnTo>
                  <a:lnTo>
                    <a:pt x="1013" y="771"/>
                  </a:lnTo>
                  <a:lnTo>
                    <a:pt x="990" y="788"/>
                  </a:lnTo>
                  <a:lnTo>
                    <a:pt x="969" y="807"/>
                  </a:lnTo>
                  <a:lnTo>
                    <a:pt x="946" y="825"/>
                  </a:lnTo>
                  <a:lnTo>
                    <a:pt x="924" y="845"/>
                  </a:lnTo>
                  <a:lnTo>
                    <a:pt x="904" y="864"/>
                  </a:lnTo>
                  <a:lnTo>
                    <a:pt x="883" y="883"/>
                  </a:lnTo>
                  <a:lnTo>
                    <a:pt x="864" y="904"/>
                  </a:lnTo>
                  <a:lnTo>
                    <a:pt x="843" y="926"/>
                  </a:lnTo>
                  <a:lnTo>
                    <a:pt x="825" y="947"/>
                  </a:lnTo>
                  <a:lnTo>
                    <a:pt x="807" y="969"/>
                  </a:lnTo>
                  <a:lnTo>
                    <a:pt x="788" y="991"/>
                  </a:lnTo>
                  <a:lnTo>
                    <a:pt x="771" y="1014"/>
                  </a:lnTo>
                  <a:lnTo>
                    <a:pt x="754" y="1037"/>
                  </a:lnTo>
                  <a:lnTo>
                    <a:pt x="738" y="1061"/>
                  </a:lnTo>
                  <a:lnTo>
                    <a:pt x="721" y="1084"/>
                  </a:lnTo>
                  <a:lnTo>
                    <a:pt x="706" y="1109"/>
                  </a:lnTo>
                  <a:lnTo>
                    <a:pt x="692" y="1134"/>
                  </a:lnTo>
                  <a:lnTo>
                    <a:pt x="678" y="1159"/>
                  </a:lnTo>
                  <a:lnTo>
                    <a:pt x="664" y="1185"/>
                  </a:lnTo>
                  <a:lnTo>
                    <a:pt x="651" y="1211"/>
                  </a:lnTo>
                  <a:lnTo>
                    <a:pt x="639" y="1237"/>
                  </a:lnTo>
                  <a:lnTo>
                    <a:pt x="627" y="1264"/>
                  </a:lnTo>
                  <a:lnTo>
                    <a:pt x="617" y="1291"/>
                  </a:lnTo>
                  <a:lnTo>
                    <a:pt x="606" y="1318"/>
                  </a:lnTo>
                  <a:lnTo>
                    <a:pt x="596" y="1346"/>
                  </a:lnTo>
                  <a:lnTo>
                    <a:pt x="588" y="1373"/>
                  </a:lnTo>
                  <a:lnTo>
                    <a:pt x="579" y="1402"/>
                  </a:lnTo>
                  <a:lnTo>
                    <a:pt x="571" y="1430"/>
                  </a:lnTo>
                  <a:lnTo>
                    <a:pt x="565" y="1458"/>
                  </a:lnTo>
                  <a:lnTo>
                    <a:pt x="558" y="1487"/>
                  </a:lnTo>
                  <a:lnTo>
                    <a:pt x="553" y="1516"/>
                  </a:lnTo>
                  <a:lnTo>
                    <a:pt x="548" y="1547"/>
                  </a:lnTo>
                  <a:lnTo>
                    <a:pt x="543" y="1576"/>
                  </a:lnTo>
                  <a:lnTo>
                    <a:pt x="540" y="1606"/>
                  </a:lnTo>
                  <a:lnTo>
                    <a:pt x="537" y="1636"/>
                  </a:lnTo>
                  <a:lnTo>
                    <a:pt x="536" y="1666"/>
                  </a:lnTo>
                  <a:lnTo>
                    <a:pt x="535" y="1698"/>
                  </a:lnTo>
                  <a:lnTo>
                    <a:pt x="534" y="1728"/>
                  </a:lnTo>
                  <a:lnTo>
                    <a:pt x="535" y="1759"/>
                  </a:lnTo>
                  <a:lnTo>
                    <a:pt x="536" y="1790"/>
                  </a:lnTo>
                  <a:lnTo>
                    <a:pt x="537" y="1820"/>
                  </a:lnTo>
                  <a:lnTo>
                    <a:pt x="540" y="1850"/>
                  </a:lnTo>
                  <a:lnTo>
                    <a:pt x="543" y="1880"/>
                  </a:lnTo>
                  <a:lnTo>
                    <a:pt x="548" y="1911"/>
                  </a:lnTo>
                  <a:lnTo>
                    <a:pt x="553" y="1940"/>
                  </a:lnTo>
                  <a:lnTo>
                    <a:pt x="558" y="1969"/>
                  </a:lnTo>
                  <a:lnTo>
                    <a:pt x="565" y="1998"/>
                  </a:lnTo>
                  <a:lnTo>
                    <a:pt x="571" y="2026"/>
                  </a:lnTo>
                  <a:lnTo>
                    <a:pt x="579" y="2055"/>
                  </a:lnTo>
                  <a:lnTo>
                    <a:pt x="588" y="2083"/>
                  </a:lnTo>
                  <a:lnTo>
                    <a:pt x="596" y="2111"/>
                  </a:lnTo>
                  <a:lnTo>
                    <a:pt x="606" y="2138"/>
                  </a:lnTo>
                  <a:lnTo>
                    <a:pt x="617" y="2166"/>
                  </a:lnTo>
                  <a:lnTo>
                    <a:pt x="627" y="2193"/>
                  </a:lnTo>
                  <a:lnTo>
                    <a:pt x="639" y="2219"/>
                  </a:lnTo>
                  <a:lnTo>
                    <a:pt x="651" y="2245"/>
                  </a:lnTo>
                  <a:lnTo>
                    <a:pt x="664" y="2271"/>
                  </a:lnTo>
                  <a:lnTo>
                    <a:pt x="678" y="2297"/>
                  </a:lnTo>
                  <a:lnTo>
                    <a:pt x="692" y="2322"/>
                  </a:lnTo>
                  <a:lnTo>
                    <a:pt x="706" y="2347"/>
                  </a:lnTo>
                  <a:lnTo>
                    <a:pt x="721" y="2372"/>
                  </a:lnTo>
                  <a:lnTo>
                    <a:pt x="738" y="2395"/>
                  </a:lnTo>
                  <a:lnTo>
                    <a:pt x="754" y="2419"/>
                  </a:lnTo>
                  <a:lnTo>
                    <a:pt x="771" y="2443"/>
                  </a:lnTo>
                  <a:lnTo>
                    <a:pt x="788" y="2466"/>
                  </a:lnTo>
                  <a:lnTo>
                    <a:pt x="807" y="2487"/>
                  </a:lnTo>
                  <a:lnTo>
                    <a:pt x="825" y="2510"/>
                  </a:lnTo>
                  <a:lnTo>
                    <a:pt x="843" y="2532"/>
                  </a:lnTo>
                  <a:lnTo>
                    <a:pt x="864" y="2552"/>
                  </a:lnTo>
                  <a:lnTo>
                    <a:pt x="883" y="2573"/>
                  </a:lnTo>
                  <a:lnTo>
                    <a:pt x="904" y="2592"/>
                  </a:lnTo>
                  <a:lnTo>
                    <a:pt x="924" y="2613"/>
                  </a:lnTo>
                  <a:lnTo>
                    <a:pt x="946" y="2631"/>
                  </a:lnTo>
                  <a:lnTo>
                    <a:pt x="969" y="2649"/>
                  </a:lnTo>
                  <a:lnTo>
                    <a:pt x="990" y="2668"/>
                  </a:lnTo>
                  <a:lnTo>
                    <a:pt x="1013" y="2685"/>
                  </a:lnTo>
                  <a:lnTo>
                    <a:pt x="1037" y="2702"/>
                  </a:lnTo>
                  <a:lnTo>
                    <a:pt x="1061" y="2718"/>
                  </a:lnTo>
                  <a:lnTo>
                    <a:pt x="1084" y="2735"/>
                  </a:lnTo>
                  <a:lnTo>
                    <a:pt x="1109" y="2750"/>
                  </a:lnTo>
                  <a:lnTo>
                    <a:pt x="1134" y="2764"/>
                  </a:lnTo>
                  <a:lnTo>
                    <a:pt x="1159" y="2778"/>
                  </a:lnTo>
                  <a:lnTo>
                    <a:pt x="1184" y="2792"/>
                  </a:lnTo>
                  <a:lnTo>
                    <a:pt x="1210" y="2805"/>
                  </a:lnTo>
                  <a:lnTo>
                    <a:pt x="1237" y="2817"/>
                  </a:lnTo>
                  <a:lnTo>
                    <a:pt x="1262" y="2829"/>
                  </a:lnTo>
                  <a:lnTo>
                    <a:pt x="1289" y="2839"/>
                  </a:lnTo>
                  <a:lnTo>
                    <a:pt x="1318" y="2850"/>
                  </a:lnTo>
                  <a:lnTo>
                    <a:pt x="1345" y="2860"/>
                  </a:lnTo>
                  <a:lnTo>
                    <a:pt x="1373" y="2868"/>
                  </a:lnTo>
                  <a:lnTo>
                    <a:pt x="1401" y="2877"/>
                  </a:lnTo>
                  <a:lnTo>
                    <a:pt x="1430" y="2885"/>
                  </a:lnTo>
                  <a:lnTo>
                    <a:pt x="1458" y="2891"/>
                  </a:lnTo>
                  <a:lnTo>
                    <a:pt x="1487" y="2898"/>
                  </a:lnTo>
                  <a:lnTo>
                    <a:pt x="1516" y="2903"/>
                  </a:lnTo>
                  <a:lnTo>
                    <a:pt x="1545" y="2908"/>
                  </a:lnTo>
                  <a:lnTo>
                    <a:pt x="1576" y="2913"/>
                  </a:lnTo>
                  <a:lnTo>
                    <a:pt x="1606" y="2916"/>
                  </a:lnTo>
                  <a:lnTo>
                    <a:pt x="1636" y="2919"/>
                  </a:lnTo>
                  <a:lnTo>
                    <a:pt x="1666" y="2920"/>
                  </a:lnTo>
                  <a:lnTo>
                    <a:pt x="1697" y="2921"/>
                  </a:lnTo>
                  <a:lnTo>
                    <a:pt x="1728" y="2922"/>
                  </a:lnTo>
                  <a:lnTo>
                    <a:pt x="1758" y="2921"/>
                  </a:lnTo>
                  <a:lnTo>
                    <a:pt x="1789" y="2920"/>
                  </a:lnTo>
                  <a:lnTo>
                    <a:pt x="1820" y="2919"/>
                  </a:lnTo>
                  <a:lnTo>
                    <a:pt x="1850" y="2916"/>
                  </a:lnTo>
                  <a:lnTo>
                    <a:pt x="1880" y="2913"/>
                  </a:lnTo>
                  <a:lnTo>
                    <a:pt x="1909" y="2908"/>
                  </a:lnTo>
                  <a:lnTo>
                    <a:pt x="1940" y="2903"/>
                  </a:lnTo>
                  <a:lnTo>
                    <a:pt x="1969" y="2898"/>
                  </a:lnTo>
                  <a:lnTo>
                    <a:pt x="1997" y="2891"/>
                  </a:lnTo>
                  <a:lnTo>
                    <a:pt x="2026" y="2885"/>
                  </a:lnTo>
                  <a:lnTo>
                    <a:pt x="2054" y="2877"/>
                  </a:lnTo>
                  <a:lnTo>
                    <a:pt x="2083" y="2868"/>
                  </a:lnTo>
                  <a:lnTo>
                    <a:pt x="2110" y="2860"/>
                  </a:lnTo>
                  <a:lnTo>
                    <a:pt x="2138" y="2850"/>
                  </a:lnTo>
                  <a:lnTo>
                    <a:pt x="2165" y="2839"/>
                  </a:lnTo>
                  <a:lnTo>
                    <a:pt x="2192" y="2829"/>
                  </a:lnTo>
                  <a:lnTo>
                    <a:pt x="2219" y="2817"/>
                  </a:lnTo>
                  <a:lnTo>
                    <a:pt x="2245" y="2805"/>
                  </a:lnTo>
                  <a:lnTo>
                    <a:pt x="2271" y="2792"/>
                  </a:lnTo>
                  <a:lnTo>
                    <a:pt x="2297" y="2778"/>
                  </a:lnTo>
                  <a:lnTo>
                    <a:pt x="2322" y="2764"/>
                  </a:lnTo>
                  <a:lnTo>
                    <a:pt x="2347" y="2750"/>
                  </a:lnTo>
                  <a:lnTo>
                    <a:pt x="2372" y="2735"/>
                  </a:lnTo>
                  <a:lnTo>
                    <a:pt x="2395" y="2718"/>
                  </a:lnTo>
                  <a:lnTo>
                    <a:pt x="2419" y="2702"/>
                  </a:lnTo>
                  <a:lnTo>
                    <a:pt x="2442" y="2685"/>
                  </a:lnTo>
                  <a:lnTo>
                    <a:pt x="2464" y="2668"/>
                  </a:lnTo>
                  <a:lnTo>
                    <a:pt x="2487" y="2649"/>
                  </a:lnTo>
                  <a:lnTo>
                    <a:pt x="2509" y="2631"/>
                  </a:lnTo>
                  <a:lnTo>
                    <a:pt x="2530" y="2613"/>
                  </a:lnTo>
                  <a:lnTo>
                    <a:pt x="2552" y="2592"/>
                  </a:lnTo>
                  <a:lnTo>
                    <a:pt x="2572" y="2573"/>
                  </a:lnTo>
                  <a:lnTo>
                    <a:pt x="2592" y="2552"/>
                  </a:lnTo>
                  <a:lnTo>
                    <a:pt x="2611" y="2532"/>
                  </a:lnTo>
                  <a:lnTo>
                    <a:pt x="2631" y="2510"/>
                  </a:lnTo>
                  <a:lnTo>
                    <a:pt x="2649" y="2487"/>
                  </a:lnTo>
                  <a:lnTo>
                    <a:pt x="2667" y="2466"/>
                  </a:lnTo>
                  <a:lnTo>
                    <a:pt x="2685" y="2443"/>
                  </a:lnTo>
                  <a:lnTo>
                    <a:pt x="2701" y="2419"/>
                  </a:lnTo>
                  <a:lnTo>
                    <a:pt x="2718" y="2395"/>
                  </a:lnTo>
                  <a:lnTo>
                    <a:pt x="2733" y="2372"/>
                  </a:lnTo>
                  <a:lnTo>
                    <a:pt x="2748" y="2347"/>
                  </a:lnTo>
                  <a:lnTo>
                    <a:pt x="2764" y="2322"/>
                  </a:lnTo>
                  <a:lnTo>
                    <a:pt x="2778" y="2297"/>
                  </a:lnTo>
                  <a:lnTo>
                    <a:pt x="2791" y="2271"/>
                  </a:lnTo>
                  <a:lnTo>
                    <a:pt x="2804" y="2245"/>
                  </a:lnTo>
                  <a:lnTo>
                    <a:pt x="2816" y="2219"/>
                  </a:lnTo>
                  <a:lnTo>
                    <a:pt x="2827" y="2193"/>
                  </a:lnTo>
                  <a:lnTo>
                    <a:pt x="2839" y="2166"/>
                  </a:lnTo>
                  <a:lnTo>
                    <a:pt x="2849" y="2138"/>
                  </a:lnTo>
                  <a:lnTo>
                    <a:pt x="2859" y="2111"/>
                  </a:lnTo>
                  <a:lnTo>
                    <a:pt x="2868" y="2083"/>
                  </a:lnTo>
                  <a:lnTo>
                    <a:pt x="2876" y="2055"/>
                  </a:lnTo>
                  <a:lnTo>
                    <a:pt x="2885" y="2026"/>
                  </a:lnTo>
                  <a:lnTo>
                    <a:pt x="2891" y="1998"/>
                  </a:lnTo>
                  <a:lnTo>
                    <a:pt x="2897" y="1969"/>
                  </a:lnTo>
                  <a:lnTo>
                    <a:pt x="2903" y="1940"/>
                  </a:lnTo>
                  <a:lnTo>
                    <a:pt x="2908" y="1911"/>
                  </a:lnTo>
                  <a:lnTo>
                    <a:pt x="2912" y="1880"/>
                  </a:lnTo>
                  <a:lnTo>
                    <a:pt x="2916" y="1850"/>
                  </a:lnTo>
                  <a:lnTo>
                    <a:pt x="2918" y="1820"/>
                  </a:lnTo>
                  <a:lnTo>
                    <a:pt x="2920" y="1790"/>
                  </a:lnTo>
                  <a:lnTo>
                    <a:pt x="2921" y="1759"/>
                  </a:lnTo>
                  <a:lnTo>
                    <a:pt x="2921" y="1728"/>
                  </a:lnTo>
                  <a:lnTo>
                    <a:pt x="2921" y="1698"/>
                  </a:lnTo>
                  <a:lnTo>
                    <a:pt x="2920" y="1666"/>
                  </a:lnTo>
                  <a:lnTo>
                    <a:pt x="2918" y="1636"/>
                  </a:lnTo>
                  <a:lnTo>
                    <a:pt x="2916" y="1606"/>
                  </a:lnTo>
                  <a:lnTo>
                    <a:pt x="2912" y="1576"/>
                  </a:lnTo>
                  <a:lnTo>
                    <a:pt x="2908" y="1547"/>
                  </a:lnTo>
                  <a:lnTo>
                    <a:pt x="2903" y="1516"/>
                  </a:lnTo>
                  <a:lnTo>
                    <a:pt x="2897" y="1487"/>
                  </a:lnTo>
                  <a:lnTo>
                    <a:pt x="2891" y="1458"/>
                  </a:lnTo>
                  <a:lnTo>
                    <a:pt x="2885" y="1430"/>
                  </a:lnTo>
                  <a:lnTo>
                    <a:pt x="2876" y="1402"/>
                  </a:lnTo>
                  <a:lnTo>
                    <a:pt x="2868" y="1373"/>
                  </a:lnTo>
                  <a:lnTo>
                    <a:pt x="2859" y="1346"/>
                  </a:lnTo>
                  <a:lnTo>
                    <a:pt x="2849" y="1318"/>
                  </a:lnTo>
                  <a:lnTo>
                    <a:pt x="2839" y="1291"/>
                  </a:lnTo>
                  <a:lnTo>
                    <a:pt x="2827" y="1264"/>
                  </a:lnTo>
                  <a:lnTo>
                    <a:pt x="2816" y="1237"/>
                  </a:lnTo>
                  <a:lnTo>
                    <a:pt x="2804" y="1211"/>
                  </a:lnTo>
                  <a:lnTo>
                    <a:pt x="2791" y="1185"/>
                  </a:lnTo>
                  <a:lnTo>
                    <a:pt x="2778" y="1159"/>
                  </a:lnTo>
                  <a:lnTo>
                    <a:pt x="2764" y="1134"/>
                  </a:lnTo>
                  <a:lnTo>
                    <a:pt x="2748" y="1109"/>
                  </a:lnTo>
                  <a:lnTo>
                    <a:pt x="2733" y="1084"/>
                  </a:lnTo>
                  <a:lnTo>
                    <a:pt x="2718" y="1061"/>
                  </a:lnTo>
                  <a:lnTo>
                    <a:pt x="2701" y="1037"/>
                  </a:lnTo>
                  <a:lnTo>
                    <a:pt x="2685" y="1014"/>
                  </a:lnTo>
                  <a:lnTo>
                    <a:pt x="2667" y="991"/>
                  </a:lnTo>
                  <a:lnTo>
                    <a:pt x="2649" y="969"/>
                  </a:lnTo>
                  <a:lnTo>
                    <a:pt x="2631" y="947"/>
                  </a:lnTo>
                  <a:lnTo>
                    <a:pt x="2611" y="926"/>
                  </a:lnTo>
                  <a:lnTo>
                    <a:pt x="2592" y="904"/>
                  </a:lnTo>
                  <a:lnTo>
                    <a:pt x="2572" y="8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3607913" y="2607358"/>
              <a:ext cx="866775" cy="866775"/>
            </a:xfrm>
            <a:custGeom>
              <a:avLst/>
              <a:gdLst>
                <a:gd name="T0" fmla="*/ 952 w 1727"/>
                <a:gd name="T1" fmla="*/ 4 h 1727"/>
                <a:gd name="T2" fmla="*/ 1080 w 1727"/>
                <a:gd name="T3" fmla="*/ 27 h 1727"/>
                <a:gd name="T4" fmla="*/ 1275 w 1727"/>
                <a:gd name="T5" fmla="*/ 104 h 1727"/>
                <a:gd name="T6" fmla="*/ 1444 w 1727"/>
                <a:gd name="T7" fmla="*/ 224 h 1727"/>
                <a:gd name="T8" fmla="*/ 1580 w 1727"/>
                <a:gd name="T9" fmla="*/ 380 h 1727"/>
                <a:gd name="T10" fmla="*/ 1675 w 1727"/>
                <a:gd name="T11" fmla="*/ 566 h 1727"/>
                <a:gd name="T12" fmla="*/ 1717 w 1727"/>
                <a:gd name="T13" fmla="*/ 731 h 1727"/>
                <a:gd name="T14" fmla="*/ 1727 w 1727"/>
                <a:gd name="T15" fmla="*/ 841 h 1727"/>
                <a:gd name="T16" fmla="*/ 1722 w 1727"/>
                <a:gd name="T17" fmla="*/ 952 h 1727"/>
                <a:gd name="T18" fmla="*/ 1700 w 1727"/>
                <a:gd name="T19" fmla="*/ 1079 h 1727"/>
                <a:gd name="T20" fmla="*/ 1623 w 1727"/>
                <a:gd name="T21" fmla="*/ 1274 h 1727"/>
                <a:gd name="T22" fmla="*/ 1503 w 1727"/>
                <a:gd name="T23" fmla="*/ 1444 h 1727"/>
                <a:gd name="T24" fmla="*/ 1347 w 1727"/>
                <a:gd name="T25" fmla="*/ 1579 h 1727"/>
                <a:gd name="T26" fmla="*/ 1161 w 1727"/>
                <a:gd name="T27" fmla="*/ 1674 h 1727"/>
                <a:gd name="T28" fmla="*/ 996 w 1727"/>
                <a:gd name="T29" fmla="*/ 1716 h 1727"/>
                <a:gd name="T30" fmla="*/ 886 w 1727"/>
                <a:gd name="T31" fmla="*/ 1726 h 1727"/>
                <a:gd name="T32" fmla="*/ 775 w 1727"/>
                <a:gd name="T33" fmla="*/ 1722 h 1727"/>
                <a:gd name="T34" fmla="*/ 648 w 1727"/>
                <a:gd name="T35" fmla="*/ 1699 h 1727"/>
                <a:gd name="T36" fmla="*/ 452 w 1727"/>
                <a:gd name="T37" fmla="*/ 1622 h 1727"/>
                <a:gd name="T38" fmla="*/ 283 w 1727"/>
                <a:gd name="T39" fmla="*/ 1502 h 1727"/>
                <a:gd name="T40" fmla="*/ 148 w 1727"/>
                <a:gd name="T41" fmla="*/ 1346 h 1727"/>
                <a:gd name="T42" fmla="*/ 53 w 1727"/>
                <a:gd name="T43" fmla="*/ 1160 h 1727"/>
                <a:gd name="T44" fmla="*/ 11 w 1727"/>
                <a:gd name="T45" fmla="*/ 995 h 1727"/>
                <a:gd name="T46" fmla="*/ 1 w 1727"/>
                <a:gd name="T47" fmla="*/ 886 h 1727"/>
                <a:gd name="T48" fmla="*/ 5 w 1727"/>
                <a:gd name="T49" fmla="*/ 774 h 1727"/>
                <a:gd name="T50" fmla="*/ 28 w 1727"/>
                <a:gd name="T51" fmla="*/ 647 h 1727"/>
                <a:gd name="T52" fmla="*/ 105 w 1727"/>
                <a:gd name="T53" fmla="*/ 452 h 1727"/>
                <a:gd name="T54" fmla="*/ 225 w 1727"/>
                <a:gd name="T55" fmla="*/ 283 h 1727"/>
                <a:gd name="T56" fmla="*/ 381 w 1727"/>
                <a:gd name="T57" fmla="*/ 147 h 1727"/>
                <a:gd name="T58" fmla="*/ 567 w 1727"/>
                <a:gd name="T59" fmla="*/ 52 h 1727"/>
                <a:gd name="T60" fmla="*/ 732 w 1727"/>
                <a:gd name="T61" fmla="*/ 10 h 1727"/>
                <a:gd name="T62" fmla="*/ 841 w 1727"/>
                <a:gd name="T63" fmla="*/ 0 h 1727"/>
                <a:gd name="T64" fmla="*/ 1262 w 1727"/>
                <a:gd name="T65" fmla="*/ 329 h 1727"/>
                <a:gd name="T66" fmla="*/ 1123 w 1727"/>
                <a:gd name="T67" fmla="*/ 250 h 1727"/>
                <a:gd name="T68" fmla="*/ 965 w 1727"/>
                <a:gd name="T69" fmla="*/ 204 h 1727"/>
                <a:gd name="T70" fmla="*/ 796 w 1727"/>
                <a:gd name="T71" fmla="*/ 200 h 1727"/>
                <a:gd name="T72" fmla="*/ 635 w 1727"/>
                <a:gd name="T73" fmla="*/ 238 h 1727"/>
                <a:gd name="T74" fmla="*/ 491 w 1727"/>
                <a:gd name="T75" fmla="*/ 310 h 1727"/>
                <a:gd name="T76" fmla="*/ 370 w 1727"/>
                <a:gd name="T77" fmla="*/ 415 h 1727"/>
                <a:gd name="T78" fmla="*/ 278 w 1727"/>
                <a:gd name="T79" fmla="*/ 545 h 1727"/>
                <a:gd name="T80" fmla="*/ 218 w 1727"/>
                <a:gd name="T81" fmla="*/ 697 h 1727"/>
                <a:gd name="T82" fmla="*/ 198 w 1727"/>
                <a:gd name="T83" fmla="*/ 863 h 1727"/>
                <a:gd name="T84" fmla="*/ 218 w 1727"/>
                <a:gd name="T85" fmla="*/ 1029 h 1727"/>
                <a:gd name="T86" fmla="*/ 278 w 1727"/>
                <a:gd name="T87" fmla="*/ 1181 h 1727"/>
                <a:gd name="T88" fmla="*/ 370 w 1727"/>
                <a:gd name="T89" fmla="*/ 1311 h 1727"/>
                <a:gd name="T90" fmla="*/ 491 w 1727"/>
                <a:gd name="T91" fmla="*/ 1416 h 1727"/>
                <a:gd name="T92" fmla="*/ 635 w 1727"/>
                <a:gd name="T93" fmla="*/ 1489 h 1727"/>
                <a:gd name="T94" fmla="*/ 796 w 1727"/>
                <a:gd name="T95" fmla="*/ 1526 h 1727"/>
                <a:gd name="T96" fmla="*/ 965 w 1727"/>
                <a:gd name="T97" fmla="*/ 1522 h 1727"/>
                <a:gd name="T98" fmla="*/ 1123 w 1727"/>
                <a:gd name="T99" fmla="*/ 1478 h 1727"/>
                <a:gd name="T100" fmla="*/ 1262 w 1727"/>
                <a:gd name="T101" fmla="*/ 1398 h 1727"/>
                <a:gd name="T102" fmla="*/ 1378 w 1727"/>
                <a:gd name="T103" fmla="*/ 1287 h 1727"/>
                <a:gd name="T104" fmla="*/ 1464 w 1727"/>
                <a:gd name="T105" fmla="*/ 1152 h 1727"/>
                <a:gd name="T106" fmla="*/ 1516 w 1727"/>
                <a:gd name="T107" fmla="*/ 998 h 1727"/>
                <a:gd name="T108" fmla="*/ 1529 w 1727"/>
                <a:gd name="T109" fmla="*/ 828 h 1727"/>
                <a:gd name="T110" fmla="*/ 1500 w 1727"/>
                <a:gd name="T111" fmla="*/ 665 h 1727"/>
                <a:gd name="T112" fmla="*/ 1434 w 1727"/>
                <a:gd name="T113" fmla="*/ 517 h 1727"/>
                <a:gd name="T114" fmla="*/ 1335 w 1727"/>
                <a:gd name="T115" fmla="*/ 392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7" h="1727">
                  <a:moveTo>
                    <a:pt x="864" y="0"/>
                  </a:moveTo>
                  <a:lnTo>
                    <a:pt x="886" y="0"/>
                  </a:lnTo>
                  <a:lnTo>
                    <a:pt x="908" y="1"/>
                  </a:lnTo>
                  <a:lnTo>
                    <a:pt x="930" y="2"/>
                  </a:lnTo>
                  <a:lnTo>
                    <a:pt x="952" y="4"/>
                  </a:lnTo>
                  <a:lnTo>
                    <a:pt x="974" y="7"/>
                  </a:lnTo>
                  <a:lnTo>
                    <a:pt x="996" y="10"/>
                  </a:lnTo>
                  <a:lnTo>
                    <a:pt x="1016" y="13"/>
                  </a:lnTo>
                  <a:lnTo>
                    <a:pt x="1038" y="17"/>
                  </a:lnTo>
                  <a:lnTo>
                    <a:pt x="1080" y="27"/>
                  </a:lnTo>
                  <a:lnTo>
                    <a:pt x="1121" y="39"/>
                  </a:lnTo>
                  <a:lnTo>
                    <a:pt x="1161" y="52"/>
                  </a:lnTo>
                  <a:lnTo>
                    <a:pt x="1200" y="68"/>
                  </a:lnTo>
                  <a:lnTo>
                    <a:pt x="1238" y="85"/>
                  </a:lnTo>
                  <a:lnTo>
                    <a:pt x="1275" y="104"/>
                  </a:lnTo>
                  <a:lnTo>
                    <a:pt x="1311" y="124"/>
                  </a:lnTo>
                  <a:lnTo>
                    <a:pt x="1347" y="147"/>
                  </a:lnTo>
                  <a:lnTo>
                    <a:pt x="1380" y="172"/>
                  </a:lnTo>
                  <a:lnTo>
                    <a:pt x="1413" y="197"/>
                  </a:lnTo>
                  <a:lnTo>
                    <a:pt x="1444" y="224"/>
                  </a:lnTo>
                  <a:lnTo>
                    <a:pt x="1474" y="253"/>
                  </a:lnTo>
                  <a:lnTo>
                    <a:pt x="1503" y="283"/>
                  </a:lnTo>
                  <a:lnTo>
                    <a:pt x="1530" y="314"/>
                  </a:lnTo>
                  <a:lnTo>
                    <a:pt x="1555" y="347"/>
                  </a:lnTo>
                  <a:lnTo>
                    <a:pt x="1580" y="380"/>
                  </a:lnTo>
                  <a:lnTo>
                    <a:pt x="1602" y="416"/>
                  </a:lnTo>
                  <a:lnTo>
                    <a:pt x="1623" y="452"/>
                  </a:lnTo>
                  <a:lnTo>
                    <a:pt x="1641" y="489"/>
                  </a:lnTo>
                  <a:lnTo>
                    <a:pt x="1659" y="527"/>
                  </a:lnTo>
                  <a:lnTo>
                    <a:pt x="1675" y="566"/>
                  </a:lnTo>
                  <a:lnTo>
                    <a:pt x="1688" y="606"/>
                  </a:lnTo>
                  <a:lnTo>
                    <a:pt x="1700" y="647"/>
                  </a:lnTo>
                  <a:lnTo>
                    <a:pt x="1710" y="689"/>
                  </a:lnTo>
                  <a:lnTo>
                    <a:pt x="1714" y="711"/>
                  </a:lnTo>
                  <a:lnTo>
                    <a:pt x="1717" y="731"/>
                  </a:lnTo>
                  <a:lnTo>
                    <a:pt x="1720" y="753"/>
                  </a:lnTo>
                  <a:lnTo>
                    <a:pt x="1722" y="774"/>
                  </a:lnTo>
                  <a:lnTo>
                    <a:pt x="1725" y="797"/>
                  </a:lnTo>
                  <a:lnTo>
                    <a:pt x="1726" y="819"/>
                  </a:lnTo>
                  <a:lnTo>
                    <a:pt x="1727" y="841"/>
                  </a:lnTo>
                  <a:lnTo>
                    <a:pt x="1727" y="863"/>
                  </a:lnTo>
                  <a:lnTo>
                    <a:pt x="1727" y="886"/>
                  </a:lnTo>
                  <a:lnTo>
                    <a:pt x="1726" y="907"/>
                  </a:lnTo>
                  <a:lnTo>
                    <a:pt x="1725" y="930"/>
                  </a:lnTo>
                  <a:lnTo>
                    <a:pt x="1722" y="952"/>
                  </a:lnTo>
                  <a:lnTo>
                    <a:pt x="1720" y="973"/>
                  </a:lnTo>
                  <a:lnTo>
                    <a:pt x="1717" y="995"/>
                  </a:lnTo>
                  <a:lnTo>
                    <a:pt x="1714" y="1016"/>
                  </a:lnTo>
                  <a:lnTo>
                    <a:pt x="1710" y="1037"/>
                  </a:lnTo>
                  <a:lnTo>
                    <a:pt x="1700" y="1079"/>
                  </a:lnTo>
                  <a:lnTo>
                    <a:pt x="1688" y="1120"/>
                  </a:lnTo>
                  <a:lnTo>
                    <a:pt x="1675" y="1160"/>
                  </a:lnTo>
                  <a:lnTo>
                    <a:pt x="1659" y="1199"/>
                  </a:lnTo>
                  <a:lnTo>
                    <a:pt x="1641" y="1238"/>
                  </a:lnTo>
                  <a:lnTo>
                    <a:pt x="1623" y="1274"/>
                  </a:lnTo>
                  <a:lnTo>
                    <a:pt x="1602" y="1311"/>
                  </a:lnTo>
                  <a:lnTo>
                    <a:pt x="1580" y="1346"/>
                  </a:lnTo>
                  <a:lnTo>
                    <a:pt x="1555" y="1379"/>
                  </a:lnTo>
                  <a:lnTo>
                    <a:pt x="1530" y="1413"/>
                  </a:lnTo>
                  <a:lnTo>
                    <a:pt x="1503" y="1444"/>
                  </a:lnTo>
                  <a:lnTo>
                    <a:pt x="1474" y="1473"/>
                  </a:lnTo>
                  <a:lnTo>
                    <a:pt x="1444" y="1502"/>
                  </a:lnTo>
                  <a:lnTo>
                    <a:pt x="1413" y="1529"/>
                  </a:lnTo>
                  <a:lnTo>
                    <a:pt x="1380" y="1555"/>
                  </a:lnTo>
                  <a:lnTo>
                    <a:pt x="1347" y="1579"/>
                  </a:lnTo>
                  <a:lnTo>
                    <a:pt x="1311" y="1602"/>
                  </a:lnTo>
                  <a:lnTo>
                    <a:pt x="1275" y="1622"/>
                  </a:lnTo>
                  <a:lnTo>
                    <a:pt x="1238" y="1642"/>
                  </a:lnTo>
                  <a:lnTo>
                    <a:pt x="1200" y="1659"/>
                  </a:lnTo>
                  <a:lnTo>
                    <a:pt x="1161" y="1674"/>
                  </a:lnTo>
                  <a:lnTo>
                    <a:pt x="1121" y="1688"/>
                  </a:lnTo>
                  <a:lnTo>
                    <a:pt x="1080" y="1699"/>
                  </a:lnTo>
                  <a:lnTo>
                    <a:pt x="1038" y="1709"/>
                  </a:lnTo>
                  <a:lnTo>
                    <a:pt x="1016" y="1713"/>
                  </a:lnTo>
                  <a:lnTo>
                    <a:pt x="996" y="1716"/>
                  </a:lnTo>
                  <a:lnTo>
                    <a:pt x="974" y="1719"/>
                  </a:lnTo>
                  <a:lnTo>
                    <a:pt x="952" y="1722"/>
                  </a:lnTo>
                  <a:lnTo>
                    <a:pt x="930" y="1724"/>
                  </a:lnTo>
                  <a:lnTo>
                    <a:pt x="908" y="1726"/>
                  </a:lnTo>
                  <a:lnTo>
                    <a:pt x="886" y="1726"/>
                  </a:lnTo>
                  <a:lnTo>
                    <a:pt x="864" y="1727"/>
                  </a:lnTo>
                  <a:lnTo>
                    <a:pt x="841" y="1726"/>
                  </a:lnTo>
                  <a:lnTo>
                    <a:pt x="820" y="1726"/>
                  </a:lnTo>
                  <a:lnTo>
                    <a:pt x="797" y="1724"/>
                  </a:lnTo>
                  <a:lnTo>
                    <a:pt x="775" y="1722"/>
                  </a:lnTo>
                  <a:lnTo>
                    <a:pt x="754" y="1719"/>
                  </a:lnTo>
                  <a:lnTo>
                    <a:pt x="732" y="1716"/>
                  </a:lnTo>
                  <a:lnTo>
                    <a:pt x="711" y="1713"/>
                  </a:lnTo>
                  <a:lnTo>
                    <a:pt x="690" y="1709"/>
                  </a:lnTo>
                  <a:lnTo>
                    <a:pt x="648" y="1699"/>
                  </a:lnTo>
                  <a:lnTo>
                    <a:pt x="607" y="1688"/>
                  </a:lnTo>
                  <a:lnTo>
                    <a:pt x="567" y="1674"/>
                  </a:lnTo>
                  <a:lnTo>
                    <a:pt x="528" y="1659"/>
                  </a:lnTo>
                  <a:lnTo>
                    <a:pt x="489" y="1642"/>
                  </a:lnTo>
                  <a:lnTo>
                    <a:pt x="452" y="1622"/>
                  </a:lnTo>
                  <a:lnTo>
                    <a:pt x="416" y="1602"/>
                  </a:lnTo>
                  <a:lnTo>
                    <a:pt x="381" y="1579"/>
                  </a:lnTo>
                  <a:lnTo>
                    <a:pt x="348" y="1555"/>
                  </a:lnTo>
                  <a:lnTo>
                    <a:pt x="314" y="1529"/>
                  </a:lnTo>
                  <a:lnTo>
                    <a:pt x="283" y="1502"/>
                  </a:lnTo>
                  <a:lnTo>
                    <a:pt x="254" y="1473"/>
                  </a:lnTo>
                  <a:lnTo>
                    <a:pt x="225" y="1444"/>
                  </a:lnTo>
                  <a:lnTo>
                    <a:pt x="198" y="1413"/>
                  </a:lnTo>
                  <a:lnTo>
                    <a:pt x="172" y="1379"/>
                  </a:lnTo>
                  <a:lnTo>
                    <a:pt x="148" y="1346"/>
                  </a:lnTo>
                  <a:lnTo>
                    <a:pt x="125" y="1311"/>
                  </a:lnTo>
                  <a:lnTo>
                    <a:pt x="105" y="1274"/>
                  </a:lnTo>
                  <a:lnTo>
                    <a:pt x="85" y="1238"/>
                  </a:lnTo>
                  <a:lnTo>
                    <a:pt x="68" y="1199"/>
                  </a:lnTo>
                  <a:lnTo>
                    <a:pt x="53" y="1160"/>
                  </a:lnTo>
                  <a:lnTo>
                    <a:pt x="39" y="1120"/>
                  </a:lnTo>
                  <a:lnTo>
                    <a:pt x="28" y="1079"/>
                  </a:lnTo>
                  <a:lnTo>
                    <a:pt x="18" y="1037"/>
                  </a:lnTo>
                  <a:lnTo>
                    <a:pt x="14" y="1016"/>
                  </a:lnTo>
                  <a:lnTo>
                    <a:pt x="11" y="995"/>
                  </a:lnTo>
                  <a:lnTo>
                    <a:pt x="8" y="973"/>
                  </a:lnTo>
                  <a:lnTo>
                    <a:pt x="5" y="952"/>
                  </a:lnTo>
                  <a:lnTo>
                    <a:pt x="3" y="930"/>
                  </a:lnTo>
                  <a:lnTo>
                    <a:pt x="1" y="907"/>
                  </a:lnTo>
                  <a:lnTo>
                    <a:pt x="1" y="886"/>
                  </a:lnTo>
                  <a:lnTo>
                    <a:pt x="0" y="863"/>
                  </a:lnTo>
                  <a:lnTo>
                    <a:pt x="1" y="841"/>
                  </a:lnTo>
                  <a:lnTo>
                    <a:pt x="1" y="819"/>
                  </a:lnTo>
                  <a:lnTo>
                    <a:pt x="3" y="797"/>
                  </a:lnTo>
                  <a:lnTo>
                    <a:pt x="5" y="774"/>
                  </a:lnTo>
                  <a:lnTo>
                    <a:pt x="8" y="753"/>
                  </a:lnTo>
                  <a:lnTo>
                    <a:pt x="11" y="731"/>
                  </a:lnTo>
                  <a:lnTo>
                    <a:pt x="14" y="711"/>
                  </a:lnTo>
                  <a:lnTo>
                    <a:pt x="18" y="689"/>
                  </a:lnTo>
                  <a:lnTo>
                    <a:pt x="28" y="647"/>
                  </a:lnTo>
                  <a:lnTo>
                    <a:pt x="39" y="606"/>
                  </a:lnTo>
                  <a:lnTo>
                    <a:pt x="53" y="566"/>
                  </a:lnTo>
                  <a:lnTo>
                    <a:pt x="68" y="527"/>
                  </a:lnTo>
                  <a:lnTo>
                    <a:pt x="85" y="489"/>
                  </a:lnTo>
                  <a:lnTo>
                    <a:pt x="105" y="452"/>
                  </a:lnTo>
                  <a:lnTo>
                    <a:pt x="125" y="416"/>
                  </a:lnTo>
                  <a:lnTo>
                    <a:pt x="148" y="380"/>
                  </a:lnTo>
                  <a:lnTo>
                    <a:pt x="172" y="347"/>
                  </a:lnTo>
                  <a:lnTo>
                    <a:pt x="198" y="314"/>
                  </a:lnTo>
                  <a:lnTo>
                    <a:pt x="225" y="283"/>
                  </a:lnTo>
                  <a:lnTo>
                    <a:pt x="254" y="253"/>
                  </a:lnTo>
                  <a:lnTo>
                    <a:pt x="283" y="224"/>
                  </a:lnTo>
                  <a:lnTo>
                    <a:pt x="314" y="197"/>
                  </a:lnTo>
                  <a:lnTo>
                    <a:pt x="348" y="172"/>
                  </a:lnTo>
                  <a:lnTo>
                    <a:pt x="381" y="147"/>
                  </a:lnTo>
                  <a:lnTo>
                    <a:pt x="416" y="124"/>
                  </a:lnTo>
                  <a:lnTo>
                    <a:pt x="452" y="104"/>
                  </a:lnTo>
                  <a:lnTo>
                    <a:pt x="489" y="85"/>
                  </a:lnTo>
                  <a:lnTo>
                    <a:pt x="528" y="68"/>
                  </a:lnTo>
                  <a:lnTo>
                    <a:pt x="567" y="52"/>
                  </a:lnTo>
                  <a:lnTo>
                    <a:pt x="607" y="39"/>
                  </a:lnTo>
                  <a:lnTo>
                    <a:pt x="648" y="27"/>
                  </a:lnTo>
                  <a:lnTo>
                    <a:pt x="690" y="17"/>
                  </a:lnTo>
                  <a:lnTo>
                    <a:pt x="711" y="13"/>
                  </a:lnTo>
                  <a:lnTo>
                    <a:pt x="732" y="10"/>
                  </a:lnTo>
                  <a:lnTo>
                    <a:pt x="754" y="7"/>
                  </a:lnTo>
                  <a:lnTo>
                    <a:pt x="775" y="4"/>
                  </a:lnTo>
                  <a:lnTo>
                    <a:pt x="797" y="2"/>
                  </a:lnTo>
                  <a:lnTo>
                    <a:pt x="820" y="1"/>
                  </a:lnTo>
                  <a:lnTo>
                    <a:pt x="841" y="0"/>
                  </a:lnTo>
                  <a:lnTo>
                    <a:pt x="864" y="0"/>
                  </a:lnTo>
                  <a:close/>
                  <a:moveTo>
                    <a:pt x="1335" y="392"/>
                  </a:moveTo>
                  <a:lnTo>
                    <a:pt x="1312" y="369"/>
                  </a:lnTo>
                  <a:lnTo>
                    <a:pt x="1287" y="349"/>
                  </a:lnTo>
                  <a:lnTo>
                    <a:pt x="1262" y="329"/>
                  </a:lnTo>
                  <a:lnTo>
                    <a:pt x="1237" y="310"/>
                  </a:lnTo>
                  <a:lnTo>
                    <a:pt x="1210" y="293"/>
                  </a:lnTo>
                  <a:lnTo>
                    <a:pt x="1181" y="278"/>
                  </a:lnTo>
                  <a:lnTo>
                    <a:pt x="1152" y="263"/>
                  </a:lnTo>
                  <a:lnTo>
                    <a:pt x="1123" y="250"/>
                  </a:lnTo>
                  <a:lnTo>
                    <a:pt x="1093" y="238"/>
                  </a:lnTo>
                  <a:lnTo>
                    <a:pt x="1062" y="227"/>
                  </a:lnTo>
                  <a:lnTo>
                    <a:pt x="1030" y="218"/>
                  </a:lnTo>
                  <a:lnTo>
                    <a:pt x="998" y="211"/>
                  </a:lnTo>
                  <a:lnTo>
                    <a:pt x="965" y="204"/>
                  </a:lnTo>
                  <a:lnTo>
                    <a:pt x="932" y="200"/>
                  </a:lnTo>
                  <a:lnTo>
                    <a:pt x="898" y="198"/>
                  </a:lnTo>
                  <a:lnTo>
                    <a:pt x="864" y="197"/>
                  </a:lnTo>
                  <a:lnTo>
                    <a:pt x="829" y="198"/>
                  </a:lnTo>
                  <a:lnTo>
                    <a:pt x="796" y="200"/>
                  </a:lnTo>
                  <a:lnTo>
                    <a:pt x="762" y="204"/>
                  </a:lnTo>
                  <a:lnTo>
                    <a:pt x="729" y="211"/>
                  </a:lnTo>
                  <a:lnTo>
                    <a:pt x="698" y="218"/>
                  </a:lnTo>
                  <a:lnTo>
                    <a:pt x="665" y="227"/>
                  </a:lnTo>
                  <a:lnTo>
                    <a:pt x="635" y="238"/>
                  </a:lnTo>
                  <a:lnTo>
                    <a:pt x="605" y="250"/>
                  </a:lnTo>
                  <a:lnTo>
                    <a:pt x="575" y="263"/>
                  </a:lnTo>
                  <a:lnTo>
                    <a:pt x="546" y="278"/>
                  </a:lnTo>
                  <a:lnTo>
                    <a:pt x="518" y="293"/>
                  </a:lnTo>
                  <a:lnTo>
                    <a:pt x="491" y="310"/>
                  </a:lnTo>
                  <a:lnTo>
                    <a:pt x="465" y="329"/>
                  </a:lnTo>
                  <a:lnTo>
                    <a:pt x="440" y="349"/>
                  </a:lnTo>
                  <a:lnTo>
                    <a:pt x="416" y="369"/>
                  </a:lnTo>
                  <a:lnTo>
                    <a:pt x="392" y="392"/>
                  </a:lnTo>
                  <a:lnTo>
                    <a:pt x="370" y="415"/>
                  </a:lnTo>
                  <a:lnTo>
                    <a:pt x="350" y="440"/>
                  </a:lnTo>
                  <a:lnTo>
                    <a:pt x="329" y="464"/>
                  </a:lnTo>
                  <a:lnTo>
                    <a:pt x="311" y="490"/>
                  </a:lnTo>
                  <a:lnTo>
                    <a:pt x="294" y="517"/>
                  </a:lnTo>
                  <a:lnTo>
                    <a:pt x="278" y="545"/>
                  </a:lnTo>
                  <a:lnTo>
                    <a:pt x="263" y="575"/>
                  </a:lnTo>
                  <a:lnTo>
                    <a:pt x="249" y="604"/>
                  </a:lnTo>
                  <a:lnTo>
                    <a:pt x="238" y="634"/>
                  </a:lnTo>
                  <a:lnTo>
                    <a:pt x="227" y="665"/>
                  </a:lnTo>
                  <a:lnTo>
                    <a:pt x="218" y="697"/>
                  </a:lnTo>
                  <a:lnTo>
                    <a:pt x="211" y="729"/>
                  </a:lnTo>
                  <a:lnTo>
                    <a:pt x="205" y="761"/>
                  </a:lnTo>
                  <a:lnTo>
                    <a:pt x="201" y="795"/>
                  </a:lnTo>
                  <a:lnTo>
                    <a:pt x="199" y="828"/>
                  </a:lnTo>
                  <a:lnTo>
                    <a:pt x="198" y="863"/>
                  </a:lnTo>
                  <a:lnTo>
                    <a:pt x="199" y="898"/>
                  </a:lnTo>
                  <a:lnTo>
                    <a:pt x="201" y="931"/>
                  </a:lnTo>
                  <a:lnTo>
                    <a:pt x="205" y="965"/>
                  </a:lnTo>
                  <a:lnTo>
                    <a:pt x="211" y="998"/>
                  </a:lnTo>
                  <a:lnTo>
                    <a:pt x="218" y="1029"/>
                  </a:lnTo>
                  <a:lnTo>
                    <a:pt x="227" y="1062"/>
                  </a:lnTo>
                  <a:lnTo>
                    <a:pt x="238" y="1092"/>
                  </a:lnTo>
                  <a:lnTo>
                    <a:pt x="249" y="1122"/>
                  </a:lnTo>
                  <a:lnTo>
                    <a:pt x="263" y="1152"/>
                  </a:lnTo>
                  <a:lnTo>
                    <a:pt x="278" y="1181"/>
                  </a:lnTo>
                  <a:lnTo>
                    <a:pt x="294" y="1209"/>
                  </a:lnTo>
                  <a:lnTo>
                    <a:pt x="311" y="1236"/>
                  </a:lnTo>
                  <a:lnTo>
                    <a:pt x="329" y="1262"/>
                  </a:lnTo>
                  <a:lnTo>
                    <a:pt x="350" y="1287"/>
                  </a:lnTo>
                  <a:lnTo>
                    <a:pt x="370" y="1311"/>
                  </a:lnTo>
                  <a:lnTo>
                    <a:pt x="392" y="1335"/>
                  </a:lnTo>
                  <a:lnTo>
                    <a:pt x="416" y="1357"/>
                  </a:lnTo>
                  <a:lnTo>
                    <a:pt x="440" y="1377"/>
                  </a:lnTo>
                  <a:lnTo>
                    <a:pt x="465" y="1398"/>
                  </a:lnTo>
                  <a:lnTo>
                    <a:pt x="491" y="1416"/>
                  </a:lnTo>
                  <a:lnTo>
                    <a:pt x="518" y="1433"/>
                  </a:lnTo>
                  <a:lnTo>
                    <a:pt x="546" y="1449"/>
                  </a:lnTo>
                  <a:lnTo>
                    <a:pt x="575" y="1463"/>
                  </a:lnTo>
                  <a:lnTo>
                    <a:pt x="605" y="1478"/>
                  </a:lnTo>
                  <a:lnTo>
                    <a:pt x="635" y="1489"/>
                  </a:lnTo>
                  <a:lnTo>
                    <a:pt x="665" y="1500"/>
                  </a:lnTo>
                  <a:lnTo>
                    <a:pt x="698" y="1509"/>
                  </a:lnTo>
                  <a:lnTo>
                    <a:pt x="729" y="1516"/>
                  </a:lnTo>
                  <a:lnTo>
                    <a:pt x="762" y="1522"/>
                  </a:lnTo>
                  <a:lnTo>
                    <a:pt x="796" y="1526"/>
                  </a:lnTo>
                  <a:lnTo>
                    <a:pt x="829" y="1528"/>
                  </a:lnTo>
                  <a:lnTo>
                    <a:pt x="864" y="1529"/>
                  </a:lnTo>
                  <a:lnTo>
                    <a:pt x="898" y="1528"/>
                  </a:lnTo>
                  <a:lnTo>
                    <a:pt x="932" y="1526"/>
                  </a:lnTo>
                  <a:lnTo>
                    <a:pt x="965" y="1522"/>
                  </a:lnTo>
                  <a:lnTo>
                    <a:pt x="998" y="1516"/>
                  </a:lnTo>
                  <a:lnTo>
                    <a:pt x="1030" y="1509"/>
                  </a:lnTo>
                  <a:lnTo>
                    <a:pt x="1062" y="1500"/>
                  </a:lnTo>
                  <a:lnTo>
                    <a:pt x="1093" y="1489"/>
                  </a:lnTo>
                  <a:lnTo>
                    <a:pt x="1123" y="1478"/>
                  </a:lnTo>
                  <a:lnTo>
                    <a:pt x="1152" y="1463"/>
                  </a:lnTo>
                  <a:lnTo>
                    <a:pt x="1181" y="1449"/>
                  </a:lnTo>
                  <a:lnTo>
                    <a:pt x="1210" y="1433"/>
                  </a:lnTo>
                  <a:lnTo>
                    <a:pt x="1237" y="1416"/>
                  </a:lnTo>
                  <a:lnTo>
                    <a:pt x="1262" y="1398"/>
                  </a:lnTo>
                  <a:lnTo>
                    <a:pt x="1287" y="1377"/>
                  </a:lnTo>
                  <a:lnTo>
                    <a:pt x="1312" y="1357"/>
                  </a:lnTo>
                  <a:lnTo>
                    <a:pt x="1335" y="1335"/>
                  </a:lnTo>
                  <a:lnTo>
                    <a:pt x="1357" y="1311"/>
                  </a:lnTo>
                  <a:lnTo>
                    <a:pt x="1378" y="1287"/>
                  </a:lnTo>
                  <a:lnTo>
                    <a:pt x="1397" y="1262"/>
                  </a:lnTo>
                  <a:lnTo>
                    <a:pt x="1416" y="1236"/>
                  </a:lnTo>
                  <a:lnTo>
                    <a:pt x="1434" y="1209"/>
                  </a:lnTo>
                  <a:lnTo>
                    <a:pt x="1449" y="1181"/>
                  </a:lnTo>
                  <a:lnTo>
                    <a:pt x="1464" y="1152"/>
                  </a:lnTo>
                  <a:lnTo>
                    <a:pt x="1477" y="1122"/>
                  </a:lnTo>
                  <a:lnTo>
                    <a:pt x="1489" y="1092"/>
                  </a:lnTo>
                  <a:lnTo>
                    <a:pt x="1500" y="1062"/>
                  </a:lnTo>
                  <a:lnTo>
                    <a:pt x="1509" y="1029"/>
                  </a:lnTo>
                  <a:lnTo>
                    <a:pt x="1516" y="998"/>
                  </a:lnTo>
                  <a:lnTo>
                    <a:pt x="1523" y="965"/>
                  </a:lnTo>
                  <a:lnTo>
                    <a:pt x="1527" y="931"/>
                  </a:lnTo>
                  <a:lnTo>
                    <a:pt x="1529" y="898"/>
                  </a:lnTo>
                  <a:lnTo>
                    <a:pt x="1530" y="863"/>
                  </a:lnTo>
                  <a:lnTo>
                    <a:pt x="1529" y="828"/>
                  </a:lnTo>
                  <a:lnTo>
                    <a:pt x="1527" y="795"/>
                  </a:lnTo>
                  <a:lnTo>
                    <a:pt x="1523" y="761"/>
                  </a:lnTo>
                  <a:lnTo>
                    <a:pt x="1516" y="729"/>
                  </a:lnTo>
                  <a:lnTo>
                    <a:pt x="1509" y="697"/>
                  </a:lnTo>
                  <a:lnTo>
                    <a:pt x="1500" y="665"/>
                  </a:lnTo>
                  <a:lnTo>
                    <a:pt x="1489" y="634"/>
                  </a:lnTo>
                  <a:lnTo>
                    <a:pt x="1477" y="604"/>
                  </a:lnTo>
                  <a:lnTo>
                    <a:pt x="1464" y="575"/>
                  </a:lnTo>
                  <a:lnTo>
                    <a:pt x="1449" y="545"/>
                  </a:lnTo>
                  <a:lnTo>
                    <a:pt x="1434" y="517"/>
                  </a:lnTo>
                  <a:lnTo>
                    <a:pt x="1416" y="490"/>
                  </a:lnTo>
                  <a:lnTo>
                    <a:pt x="1397" y="464"/>
                  </a:lnTo>
                  <a:lnTo>
                    <a:pt x="1378" y="440"/>
                  </a:lnTo>
                  <a:lnTo>
                    <a:pt x="1357" y="415"/>
                  </a:lnTo>
                  <a:lnTo>
                    <a:pt x="1335" y="3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3910883" y="2910328"/>
              <a:ext cx="260835" cy="260835"/>
            </a:xfrm>
            <a:custGeom>
              <a:avLst/>
              <a:gdLst>
                <a:gd name="T0" fmla="*/ 285 w 517"/>
                <a:gd name="T1" fmla="*/ 1 h 517"/>
                <a:gd name="T2" fmla="*/ 324 w 517"/>
                <a:gd name="T3" fmla="*/ 7 h 517"/>
                <a:gd name="T4" fmla="*/ 359 w 517"/>
                <a:gd name="T5" fmla="*/ 20 h 517"/>
                <a:gd name="T6" fmla="*/ 393 w 517"/>
                <a:gd name="T7" fmla="*/ 37 h 517"/>
                <a:gd name="T8" fmla="*/ 423 w 517"/>
                <a:gd name="T9" fmla="*/ 58 h 517"/>
                <a:gd name="T10" fmla="*/ 450 w 517"/>
                <a:gd name="T11" fmla="*/ 84 h 517"/>
                <a:gd name="T12" fmla="*/ 473 w 517"/>
                <a:gd name="T13" fmla="*/ 113 h 517"/>
                <a:gd name="T14" fmla="*/ 492 w 517"/>
                <a:gd name="T15" fmla="*/ 146 h 517"/>
                <a:gd name="T16" fmla="*/ 505 w 517"/>
                <a:gd name="T17" fmla="*/ 181 h 517"/>
                <a:gd name="T18" fmla="*/ 514 w 517"/>
                <a:gd name="T19" fmla="*/ 219 h 517"/>
                <a:gd name="T20" fmla="*/ 517 w 517"/>
                <a:gd name="T21" fmla="*/ 258 h 517"/>
                <a:gd name="T22" fmla="*/ 514 w 517"/>
                <a:gd name="T23" fmla="*/ 298 h 517"/>
                <a:gd name="T24" fmla="*/ 505 w 517"/>
                <a:gd name="T25" fmla="*/ 335 h 517"/>
                <a:gd name="T26" fmla="*/ 492 w 517"/>
                <a:gd name="T27" fmla="*/ 370 h 517"/>
                <a:gd name="T28" fmla="*/ 473 w 517"/>
                <a:gd name="T29" fmla="*/ 403 h 517"/>
                <a:gd name="T30" fmla="*/ 450 w 517"/>
                <a:gd name="T31" fmla="*/ 432 h 517"/>
                <a:gd name="T32" fmla="*/ 423 w 517"/>
                <a:gd name="T33" fmla="*/ 458 h 517"/>
                <a:gd name="T34" fmla="*/ 393 w 517"/>
                <a:gd name="T35" fmla="*/ 479 h 517"/>
                <a:gd name="T36" fmla="*/ 359 w 517"/>
                <a:gd name="T37" fmla="*/ 497 h 517"/>
                <a:gd name="T38" fmla="*/ 324 w 517"/>
                <a:gd name="T39" fmla="*/ 509 h 517"/>
                <a:gd name="T40" fmla="*/ 285 w 517"/>
                <a:gd name="T41" fmla="*/ 515 h 517"/>
                <a:gd name="T42" fmla="*/ 245 w 517"/>
                <a:gd name="T43" fmla="*/ 516 h 517"/>
                <a:gd name="T44" fmla="*/ 207 w 517"/>
                <a:gd name="T45" fmla="*/ 512 h 517"/>
                <a:gd name="T46" fmla="*/ 170 w 517"/>
                <a:gd name="T47" fmla="*/ 501 h 517"/>
                <a:gd name="T48" fmla="*/ 136 w 517"/>
                <a:gd name="T49" fmla="*/ 486 h 517"/>
                <a:gd name="T50" fmla="*/ 105 w 517"/>
                <a:gd name="T51" fmla="*/ 465 h 517"/>
                <a:gd name="T52" fmla="*/ 76 w 517"/>
                <a:gd name="T53" fmla="*/ 441 h 517"/>
                <a:gd name="T54" fmla="*/ 52 w 517"/>
                <a:gd name="T55" fmla="*/ 412 h 517"/>
                <a:gd name="T56" fmla="*/ 31 w 517"/>
                <a:gd name="T57" fmla="*/ 381 h 517"/>
                <a:gd name="T58" fmla="*/ 16 w 517"/>
                <a:gd name="T59" fmla="*/ 347 h 517"/>
                <a:gd name="T60" fmla="*/ 5 w 517"/>
                <a:gd name="T61" fmla="*/ 310 h 517"/>
                <a:gd name="T62" fmla="*/ 1 w 517"/>
                <a:gd name="T63" fmla="*/ 271 h 517"/>
                <a:gd name="T64" fmla="*/ 2 w 517"/>
                <a:gd name="T65" fmla="*/ 232 h 517"/>
                <a:gd name="T66" fmla="*/ 8 w 517"/>
                <a:gd name="T67" fmla="*/ 193 h 517"/>
                <a:gd name="T68" fmla="*/ 20 w 517"/>
                <a:gd name="T69" fmla="*/ 158 h 517"/>
                <a:gd name="T70" fmla="*/ 38 w 517"/>
                <a:gd name="T71" fmla="*/ 124 h 517"/>
                <a:gd name="T72" fmla="*/ 59 w 517"/>
                <a:gd name="T73" fmla="*/ 94 h 517"/>
                <a:gd name="T74" fmla="*/ 85 w 517"/>
                <a:gd name="T75" fmla="*/ 67 h 517"/>
                <a:gd name="T76" fmla="*/ 114 w 517"/>
                <a:gd name="T77" fmla="*/ 44 h 517"/>
                <a:gd name="T78" fmla="*/ 147 w 517"/>
                <a:gd name="T79" fmla="*/ 25 h 517"/>
                <a:gd name="T80" fmla="*/ 182 w 517"/>
                <a:gd name="T81" fmla="*/ 12 h 517"/>
                <a:gd name="T82" fmla="*/ 219 w 517"/>
                <a:gd name="T83" fmla="*/ 3 h 517"/>
                <a:gd name="T84" fmla="*/ 259 w 517"/>
                <a:gd name="T85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17" h="517">
                  <a:moveTo>
                    <a:pt x="259" y="0"/>
                  </a:moveTo>
                  <a:lnTo>
                    <a:pt x="272" y="0"/>
                  </a:lnTo>
                  <a:lnTo>
                    <a:pt x="285" y="1"/>
                  </a:lnTo>
                  <a:lnTo>
                    <a:pt x="298" y="3"/>
                  </a:lnTo>
                  <a:lnTo>
                    <a:pt x="311" y="5"/>
                  </a:lnTo>
                  <a:lnTo>
                    <a:pt x="324" y="7"/>
                  </a:lnTo>
                  <a:lnTo>
                    <a:pt x="336" y="12"/>
                  </a:lnTo>
                  <a:lnTo>
                    <a:pt x="347" y="15"/>
                  </a:lnTo>
                  <a:lnTo>
                    <a:pt x="359" y="20"/>
                  </a:lnTo>
                  <a:lnTo>
                    <a:pt x="371" y="25"/>
                  </a:lnTo>
                  <a:lnTo>
                    <a:pt x="382" y="31"/>
                  </a:lnTo>
                  <a:lnTo>
                    <a:pt x="393" y="37"/>
                  </a:lnTo>
                  <a:lnTo>
                    <a:pt x="404" y="44"/>
                  </a:lnTo>
                  <a:lnTo>
                    <a:pt x="413" y="51"/>
                  </a:lnTo>
                  <a:lnTo>
                    <a:pt x="423" y="58"/>
                  </a:lnTo>
                  <a:lnTo>
                    <a:pt x="433" y="67"/>
                  </a:lnTo>
                  <a:lnTo>
                    <a:pt x="441" y="75"/>
                  </a:lnTo>
                  <a:lnTo>
                    <a:pt x="450" y="84"/>
                  </a:lnTo>
                  <a:lnTo>
                    <a:pt x="458" y="94"/>
                  </a:lnTo>
                  <a:lnTo>
                    <a:pt x="466" y="104"/>
                  </a:lnTo>
                  <a:lnTo>
                    <a:pt x="473" y="113"/>
                  </a:lnTo>
                  <a:lnTo>
                    <a:pt x="479" y="124"/>
                  </a:lnTo>
                  <a:lnTo>
                    <a:pt x="486" y="135"/>
                  </a:lnTo>
                  <a:lnTo>
                    <a:pt x="492" y="146"/>
                  </a:lnTo>
                  <a:lnTo>
                    <a:pt x="497" y="158"/>
                  </a:lnTo>
                  <a:lnTo>
                    <a:pt x="502" y="169"/>
                  </a:lnTo>
                  <a:lnTo>
                    <a:pt x="505" y="181"/>
                  </a:lnTo>
                  <a:lnTo>
                    <a:pt x="509" y="193"/>
                  </a:lnTo>
                  <a:lnTo>
                    <a:pt x="512" y="206"/>
                  </a:lnTo>
                  <a:lnTo>
                    <a:pt x="514" y="219"/>
                  </a:lnTo>
                  <a:lnTo>
                    <a:pt x="516" y="232"/>
                  </a:lnTo>
                  <a:lnTo>
                    <a:pt x="517" y="245"/>
                  </a:lnTo>
                  <a:lnTo>
                    <a:pt x="517" y="258"/>
                  </a:lnTo>
                  <a:lnTo>
                    <a:pt x="517" y="271"/>
                  </a:lnTo>
                  <a:lnTo>
                    <a:pt x="516" y="285"/>
                  </a:lnTo>
                  <a:lnTo>
                    <a:pt x="514" y="298"/>
                  </a:lnTo>
                  <a:lnTo>
                    <a:pt x="512" y="310"/>
                  </a:lnTo>
                  <a:lnTo>
                    <a:pt x="509" y="323"/>
                  </a:lnTo>
                  <a:lnTo>
                    <a:pt x="505" y="335"/>
                  </a:lnTo>
                  <a:lnTo>
                    <a:pt x="502" y="347"/>
                  </a:lnTo>
                  <a:lnTo>
                    <a:pt x="497" y="358"/>
                  </a:lnTo>
                  <a:lnTo>
                    <a:pt x="492" y="370"/>
                  </a:lnTo>
                  <a:lnTo>
                    <a:pt x="486" y="381"/>
                  </a:lnTo>
                  <a:lnTo>
                    <a:pt x="479" y="392"/>
                  </a:lnTo>
                  <a:lnTo>
                    <a:pt x="473" y="403"/>
                  </a:lnTo>
                  <a:lnTo>
                    <a:pt x="466" y="412"/>
                  </a:lnTo>
                  <a:lnTo>
                    <a:pt x="458" y="422"/>
                  </a:lnTo>
                  <a:lnTo>
                    <a:pt x="450" y="432"/>
                  </a:lnTo>
                  <a:lnTo>
                    <a:pt x="441" y="441"/>
                  </a:lnTo>
                  <a:lnTo>
                    <a:pt x="433" y="449"/>
                  </a:lnTo>
                  <a:lnTo>
                    <a:pt x="423" y="458"/>
                  </a:lnTo>
                  <a:lnTo>
                    <a:pt x="413" y="465"/>
                  </a:lnTo>
                  <a:lnTo>
                    <a:pt x="404" y="473"/>
                  </a:lnTo>
                  <a:lnTo>
                    <a:pt x="393" y="479"/>
                  </a:lnTo>
                  <a:lnTo>
                    <a:pt x="382" y="486"/>
                  </a:lnTo>
                  <a:lnTo>
                    <a:pt x="371" y="491"/>
                  </a:lnTo>
                  <a:lnTo>
                    <a:pt x="359" y="497"/>
                  </a:lnTo>
                  <a:lnTo>
                    <a:pt x="347" y="501"/>
                  </a:lnTo>
                  <a:lnTo>
                    <a:pt x="336" y="505"/>
                  </a:lnTo>
                  <a:lnTo>
                    <a:pt x="324" y="509"/>
                  </a:lnTo>
                  <a:lnTo>
                    <a:pt x="311" y="512"/>
                  </a:lnTo>
                  <a:lnTo>
                    <a:pt x="298" y="514"/>
                  </a:lnTo>
                  <a:lnTo>
                    <a:pt x="285" y="515"/>
                  </a:lnTo>
                  <a:lnTo>
                    <a:pt x="272" y="516"/>
                  </a:lnTo>
                  <a:lnTo>
                    <a:pt x="259" y="517"/>
                  </a:lnTo>
                  <a:lnTo>
                    <a:pt x="245" y="516"/>
                  </a:lnTo>
                  <a:lnTo>
                    <a:pt x="232" y="515"/>
                  </a:lnTo>
                  <a:lnTo>
                    <a:pt x="219" y="514"/>
                  </a:lnTo>
                  <a:lnTo>
                    <a:pt x="207" y="512"/>
                  </a:lnTo>
                  <a:lnTo>
                    <a:pt x="194" y="509"/>
                  </a:lnTo>
                  <a:lnTo>
                    <a:pt x="182" y="505"/>
                  </a:lnTo>
                  <a:lnTo>
                    <a:pt x="170" y="501"/>
                  </a:lnTo>
                  <a:lnTo>
                    <a:pt x="158" y="497"/>
                  </a:lnTo>
                  <a:lnTo>
                    <a:pt x="147" y="491"/>
                  </a:lnTo>
                  <a:lnTo>
                    <a:pt x="136" y="486"/>
                  </a:lnTo>
                  <a:lnTo>
                    <a:pt x="125" y="479"/>
                  </a:lnTo>
                  <a:lnTo>
                    <a:pt x="114" y="473"/>
                  </a:lnTo>
                  <a:lnTo>
                    <a:pt x="105" y="465"/>
                  </a:lnTo>
                  <a:lnTo>
                    <a:pt x="95" y="458"/>
                  </a:lnTo>
                  <a:lnTo>
                    <a:pt x="85" y="449"/>
                  </a:lnTo>
                  <a:lnTo>
                    <a:pt x="76" y="441"/>
                  </a:lnTo>
                  <a:lnTo>
                    <a:pt x="68" y="432"/>
                  </a:lnTo>
                  <a:lnTo>
                    <a:pt x="59" y="422"/>
                  </a:lnTo>
                  <a:lnTo>
                    <a:pt x="52" y="412"/>
                  </a:lnTo>
                  <a:lnTo>
                    <a:pt x="44" y="403"/>
                  </a:lnTo>
                  <a:lnTo>
                    <a:pt x="38" y="392"/>
                  </a:lnTo>
                  <a:lnTo>
                    <a:pt x="31" y="381"/>
                  </a:lnTo>
                  <a:lnTo>
                    <a:pt x="26" y="370"/>
                  </a:lnTo>
                  <a:lnTo>
                    <a:pt x="20" y="358"/>
                  </a:lnTo>
                  <a:lnTo>
                    <a:pt x="16" y="347"/>
                  </a:lnTo>
                  <a:lnTo>
                    <a:pt x="12" y="335"/>
                  </a:lnTo>
                  <a:lnTo>
                    <a:pt x="8" y="323"/>
                  </a:lnTo>
                  <a:lnTo>
                    <a:pt x="5" y="310"/>
                  </a:lnTo>
                  <a:lnTo>
                    <a:pt x="3" y="298"/>
                  </a:lnTo>
                  <a:lnTo>
                    <a:pt x="2" y="285"/>
                  </a:lnTo>
                  <a:lnTo>
                    <a:pt x="1" y="271"/>
                  </a:lnTo>
                  <a:lnTo>
                    <a:pt x="0" y="258"/>
                  </a:lnTo>
                  <a:lnTo>
                    <a:pt x="1" y="245"/>
                  </a:lnTo>
                  <a:lnTo>
                    <a:pt x="2" y="232"/>
                  </a:lnTo>
                  <a:lnTo>
                    <a:pt x="3" y="219"/>
                  </a:lnTo>
                  <a:lnTo>
                    <a:pt x="5" y="206"/>
                  </a:lnTo>
                  <a:lnTo>
                    <a:pt x="8" y="193"/>
                  </a:lnTo>
                  <a:lnTo>
                    <a:pt x="12" y="181"/>
                  </a:lnTo>
                  <a:lnTo>
                    <a:pt x="16" y="169"/>
                  </a:lnTo>
                  <a:lnTo>
                    <a:pt x="20" y="158"/>
                  </a:lnTo>
                  <a:lnTo>
                    <a:pt x="26" y="146"/>
                  </a:lnTo>
                  <a:lnTo>
                    <a:pt x="31" y="135"/>
                  </a:lnTo>
                  <a:lnTo>
                    <a:pt x="38" y="124"/>
                  </a:lnTo>
                  <a:lnTo>
                    <a:pt x="44" y="113"/>
                  </a:lnTo>
                  <a:lnTo>
                    <a:pt x="52" y="104"/>
                  </a:lnTo>
                  <a:lnTo>
                    <a:pt x="59" y="94"/>
                  </a:lnTo>
                  <a:lnTo>
                    <a:pt x="68" y="84"/>
                  </a:lnTo>
                  <a:lnTo>
                    <a:pt x="76" y="75"/>
                  </a:lnTo>
                  <a:lnTo>
                    <a:pt x="85" y="67"/>
                  </a:lnTo>
                  <a:lnTo>
                    <a:pt x="95" y="58"/>
                  </a:lnTo>
                  <a:lnTo>
                    <a:pt x="105" y="51"/>
                  </a:lnTo>
                  <a:lnTo>
                    <a:pt x="114" y="44"/>
                  </a:lnTo>
                  <a:lnTo>
                    <a:pt x="125" y="37"/>
                  </a:lnTo>
                  <a:lnTo>
                    <a:pt x="136" y="31"/>
                  </a:lnTo>
                  <a:lnTo>
                    <a:pt x="147" y="25"/>
                  </a:lnTo>
                  <a:lnTo>
                    <a:pt x="158" y="20"/>
                  </a:lnTo>
                  <a:lnTo>
                    <a:pt x="170" y="15"/>
                  </a:lnTo>
                  <a:lnTo>
                    <a:pt x="182" y="12"/>
                  </a:lnTo>
                  <a:lnTo>
                    <a:pt x="194" y="7"/>
                  </a:lnTo>
                  <a:lnTo>
                    <a:pt x="207" y="5"/>
                  </a:lnTo>
                  <a:lnTo>
                    <a:pt x="219" y="3"/>
                  </a:lnTo>
                  <a:lnTo>
                    <a:pt x="232" y="1"/>
                  </a:lnTo>
                  <a:lnTo>
                    <a:pt x="245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21"/>
          <p:cNvGrpSpPr/>
          <p:nvPr/>
        </p:nvGrpSpPr>
        <p:grpSpPr>
          <a:xfrm rot="1365204">
            <a:off x="2967698" y="2152205"/>
            <a:ext cx="492568" cy="377528"/>
            <a:chOff x="625475" y="2439988"/>
            <a:chExt cx="482600" cy="369888"/>
          </a:xfrm>
          <a:solidFill>
            <a:schemeClr val="bg1"/>
          </a:solidFill>
          <a:effectLst/>
        </p:grpSpPr>
        <p:sp>
          <p:nvSpPr>
            <p:cNvPr id="23" name="Freeform 168"/>
            <p:cNvSpPr>
              <a:spLocks noEditPoints="1"/>
            </p:cNvSpPr>
            <p:nvPr/>
          </p:nvSpPr>
          <p:spPr bwMode="auto">
            <a:xfrm>
              <a:off x="625475" y="2439988"/>
              <a:ext cx="482600" cy="369888"/>
            </a:xfrm>
            <a:custGeom>
              <a:avLst/>
              <a:gdLst>
                <a:gd name="T0" fmla="*/ 566 w 1519"/>
                <a:gd name="T1" fmla="*/ 10 h 1165"/>
                <a:gd name="T2" fmla="*/ 675 w 1519"/>
                <a:gd name="T3" fmla="*/ 46 h 1165"/>
                <a:gd name="T4" fmla="*/ 770 w 1519"/>
                <a:gd name="T5" fmla="*/ 107 h 1165"/>
                <a:gd name="T6" fmla="*/ 848 w 1519"/>
                <a:gd name="T7" fmla="*/ 189 h 1165"/>
                <a:gd name="T8" fmla="*/ 904 w 1519"/>
                <a:gd name="T9" fmla="*/ 288 h 1165"/>
                <a:gd name="T10" fmla="*/ 936 w 1519"/>
                <a:gd name="T11" fmla="*/ 399 h 1165"/>
                <a:gd name="T12" fmla="*/ 938 w 1519"/>
                <a:gd name="T13" fmla="*/ 520 h 1165"/>
                <a:gd name="T14" fmla="*/ 912 w 1519"/>
                <a:gd name="T15" fmla="*/ 635 h 1165"/>
                <a:gd name="T16" fmla="*/ 1503 w 1519"/>
                <a:gd name="T17" fmla="*/ 1047 h 1165"/>
                <a:gd name="T18" fmla="*/ 1518 w 1519"/>
                <a:gd name="T19" fmla="*/ 1078 h 1165"/>
                <a:gd name="T20" fmla="*/ 1517 w 1519"/>
                <a:gd name="T21" fmla="*/ 1113 h 1165"/>
                <a:gd name="T22" fmla="*/ 1498 w 1519"/>
                <a:gd name="T23" fmla="*/ 1143 h 1165"/>
                <a:gd name="T24" fmla="*/ 1469 w 1519"/>
                <a:gd name="T25" fmla="*/ 1161 h 1165"/>
                <a:gd name="T26" fmla="*/ 1435 w 1519"/>
                <a:gd name="T27" fmla="*/ 1163 h 1165"/>
                <a:gd name="T28" fmla="*/ 828 w 1519"/>
                <a:gd name="T29" fmla="*/ 778 h 1165"/>
                <a:gd name="T30" fmla="*/ 735 w 1519"/>
                <a:gd name="T31" fmla="*/ 860 h 1165"/>
                <a:gd name="T32" fmla="*/ 623 w 1519"/>
                <a:gd name="T33" fmla="*/ 916 h 1165"/>
                <a:gd name="T34" fmla="*/ 497 w 1519"/>
                <a:gd name="T35" fmla="*/ 941 h 1165"/>
                <a:gd name="T36" fmla="*/ 376 w 1519"/>
                <a:gd name="T37" fmla="*/ 932 h 1165"/>
                <a:gd name="T38" fmla="*/ 266 w 1519"/>
                <a:gd name="T39" fmla="*/ 895 h 1165"/>
                <a:gd name="T40" fmla="*/ 172 w 1519"/>
                <a:gd name="T41" fmla="*/ 834 h 1165"/>
                <a:gd name="T42" fmla="*/ 94 w 1519"/>
                <a:gd name="T43" fmla="*/ 752 h 1165"/>
                <a:gd name="T44" fmla="*/ 37 w 1519"/>
                <a:gd name="T45" fmla="*/ 654 h 1165"/>
                <a:gd name="T46" fmla="*/ 6 w 1519"/>
                <a:gd name="T47" fmla="*/ 542 h 1165"/>
                <a:gd name="T48" fmla="*/ 3 w 1519"/>
                <a:gd name="T49" fmla="*/ 423 h 1165"/>
                <a:gd name="T50" fmla="*/ 29 w 1519"/>
                <a:gd name="T51" fmla="*/ 308 h 1165"/>
                <a:gd name="T52" fmla="*/ 81 w 1519"/>
                <a:gd name="T53" fmla="*/ 208 h 1165"/>
                <a:gd name="T54" fmla="*/ 155 w 1519"/>
                <a:gd name="T55" fmla="*/ 122 h 1165"/>
                <a:gd name="T56" fmla="*/ 246 w 1519"/>
                <a:gd name="T57" fmla="*/ 57 h 1165"/>
                <a:gd name="T58" fmla="*/ 353 w 1519"/>
                <a:gd name="T59" fmla="*/ 15 h 1165"/>
                <a:gd name="T60" fmla="*/ 471 w 1519"/>
                <a:gd name="T61" fmla="*/ 0 h 1165"/>
                <a:gd name="T62" fmla="*/ 543 w 1519"/>
                <a:gd name="T63" fmla="*/ 119 h 1165"/>
                <a:gd name="T64" fmla="*/ 627 w 1519"/>
                <a:gd name="T65" fmla="*/ 147 h 1165"/>
                <a:gd name="T66" fmla="*/ 699 w 1519"/>
                <a:gd name="T67" fmla="*/ 194 h 1165"/>
                <a:gd name="T68" fmla="*/ 759 w 1519"/>
                <a:gd name="T69" fmla="*/ 256 h 1165"/>
                <a:gd name="T70" fmla="*/ 802 w 1519"/>
                <a:gd name="T71" fmla="*/ 331 h 1165"/>
                <a:gd name="T72" fmla="*/ 825 w 1519"/>
                <a:gd name="T73" fmla="*/ 416 h 1165"/>
                <a:gd name="T74" fmla="*/ 828 w 1519"/>
                <a:gd name="T75" fmla="*/ 507 h 1165"/>
                <a:gd name="T76" fmla="*/ 807 w 1519"/>
                <a:gd name="T77" fmla="*/ 594 h 1165"/>
                <a:gd name="T78" fmla="*/ 768 w 1519"/>
                <a:gd name="T79" fmla="*/ 671 h 1165"/>
                <a:gd name="T80" fmla="*/ 713 w 1519"/>
                <a:gd name="T81" fmla="*/ 736 h 1165"/>
                <a:gd name="T82" fmla="*/ 641 w 1519"/>
                <a:gd name="T83" fmla="*/ 786 h 1165"/>
                <a:gd name="T84" fmla="*/ 560 w 1519"/>
                <a:gd name="T85" fmla="*/ 818 h 1165"/>
                <a:gd name="T86" fmla="*/ 471 w 1519"/>
                <a:gd name="T87" fmla="*/ 829 h 1165"/>
                <a:gd name="T88" fmla="*/ 382 w 1519"/>
                <a:gd name="T89" fmla="*/ 818 h 1165"/>
                <a:gd name="T90" fmla="*/ 300 w 1519"/>
                <a:gd name="T91" fmla="*/ 786 h 1165"/>
                <a:gd name="T92" fmla="*/ 229 w 1519"/>
                <a:gd name="T93" fmla="*/ 736 h 1165"/>
                <a:gd name="T94" fmla="*/ 174 w 1519"/>
                <a:gd name="T95" fmla="*/ 671 h 1165"/>
                <a:gd name="T96" fmla="*/ 134 w 1519"/>
                <a:gd name="T97" fmla="*/ 594 h 1165"/>
                <a:gd name="T98" fmla="*/ 114 w 1519"/>
                <a:gd name="T99" fmla="*/ 507 h 1165"/>
                <a:gd name="T100" fmla="*/ 116 w 1519"/>
                <a:gd name="T101" fmla="*/ 416 h 1165"/>
                <a:gd name="T102" fmla="*/ 140 w 1519"/>
                <a:gd name="T103" fmla="*/ 331 h 1165"/>
                <a:gd name="T104" fmla="*/ 183 w 1519"/>
                <a:gd name="T105" fmla="*/ 256 h 1165"/>
                <a:gd name="T106" fmla="*/ 243 w 1519"/>
                <a:gd name="T107" fmla="*/ 194 h 1165"/>
                <a:gd name="T108" fmla="*/ 315 w 1519"/>
                <a:gd name="T109" fmla="*/ 147 h 1165"/>
                <a:gd name="T110" fmla="*/ 399 w 1519"/>
                <a:gd name="T111" fmla="*/ 119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19" h="1165">
                  <a:moveTo>
                    <a:pt x="471" y="0"/>
                  </a:moveTo>
                  <a:lnTo>
                    <a:pt x="495" y="1"/>
                  </a:lnTo>
                  <a:lnTo>
                    <a:pt x="519" y="2"/>
                  </a:lnTo>
                  <a:lnTo>
                    <a:pt x="542" y="6"/>
                  </a:lnTo>
                  <a:lnTo>
                    <a:pt x="566" y="10"/>
                  </a:lnTo>
                  <a:lnTo>
                    <a:pt x="588" y="15"/>
                  </a:lnTo>
                  <a:lnTo>
                    <a:pt x="611" y="22"/>
                  </a:lnTo>
                  <a:lnTo>
                    <a:pt x="632" y="28"/>
                  </a:lnTo>
                  <a:lnTo>
                    <a:pt x="654" y="37"/>
                  </a:lnTo>
                  <a:lnTo>
                    <a:pt x="675" y="46"/>
                  </a:lnTo>
                  <a:lnTo>
                    <a:pt x="696" y="57"/>
                  </a:lnTo>
                  <a:lnTo>
                    <a:pt x="715" y="68"/>
                  </a:lnTo>
                  <a:lnTo>
                    <a:pt x="734" y="80"/>
                  </a:lnTo>
                  <a:lnTo>
                    <a:pt x="752" y="94"/>
                  </a:lnTo>
                  <a:lnTo>
                    <a:pt x="770" y="107"/>
                  </a:lnTo>
                  <a:lnTo>
                    <a:pt x="787" y="122"/>
                  </a:lnTo>
                  <a:lnTo>
                    <a:pt x="804" y="138"/>
                  </a:lnTo>
                  <a:lnTo>
                    <a:pt x="819" y="155"/>
                  </a:lnTo>
                  <a:lnTo>
                    <a:pt x="833" y="172"/>
                  </a:lnTo>
                  <a:lnTo>
                    <a:pt x="848" y="189"/>
                  </a:lnTo>
                  <a:lnTo>
                    <a:pt x="860" y="208"/>
                  </a:lnTo>
                  <a:lnTo>
                    <a:pt x="873" y="227"/>
                  </a:lnTo>
                  <a:lnTo>
                    <a:pt x="884" y="246"/>
                  </a:lnTo>
                  <a:lnTo>
                    <a:pt x="895" y="267"/>
                  </a:lnTo>
                  <a:lnTo>
                    <a:pt x="904" y="288"/>
                  </a:lnTo>
                  <a:lnTo>
                    <a:pt x="912" y="308"/>
                  </a:lnTo>
                  <a:lnTo>
                    <a:pt x="920" y="331"/>
                  </a:lnTo>
                  <a:lnTo>
                    <a:pt x="926" y="354"/>
                  </a:lnTo>
                  <a:lnTo>
                    <a:pt x="932" y="376"/>
                  </a:lnTo>
                  <a:lnTo>
                    <a:pt x="936" y="399"/>
                  </a:lnTo>
                  <a:lnTo>
                    <a:pt x="938" y="423"/>
                  </a:lnTo>
                  <a:lnTo>
                    <a:pt x="941" y="446"/>
                  </a:lnTo>
                  <a:lnTo>
                    <a:pt x="942" y="471"/>
                  </a:lnTo>
                  <a:lnTo>
                    <a:pt x="941" y="495"/>
                  </a:lnTo>
                  <a:lnTo>
                    <a:pt x="938" y="520"/>
                  </a:lnTo>
                  <a:lnTo>
                    <a:pt x="936" y="543"/>
                  </a:lnTo>
                  <a:lnTo>
                    <a:pt x="932" y="567"/>
                  </a:lnTo>
                  <a:lnTo>
                    <a:pt x="926" y="590"/>
                  </a:lnTo>
                  <a:lnTo>
                    <a:pt x="919" y="612"/>
                  </a:lnTo>
                  <a:lnTo>
                    <a:pt x="912" y="635"/>
                  </a:lnTo>
                  <a:lnTo>
                    <a:pt x="903" y="656"/>
                  </a:lnTo>
                  <a:lnTo>
                    <a:pt x="1486" y="1032"/>
                  </a:lnTo>
                  <a:lnTo>
                    <a:pt x="1492" y="1037"/>
                  </a:lnTo>
                  <a:lnTo>
                    <a:pt x="1497" y="1041"/>
                  </a:lnTo>
                  <a:lnTo>
                    <a:pt x="1503" y="1047"/>
                  </a:lnTo>
                  <a:lnTo>
                    <a:pt x="1506" y="1053"/>
                  </a:lnTo>
                  <a:lnTo>
                    <a:pt x="1511" y="1058"/>
                  </a:lnTo>
                  <a:lnTo>
                    <a:pt x="1513" y="1065"/>
                  </a:lnTo>
                  <a:lnTo>
                    <a:pt x="1515" y="1071"/>
                  </a:lnTo>
                  <a:lnTo>
                    <a:pt x="1518" y="1078"/>
                  </a:lnTo>
                  <a:lnTo>
                    <a:pt x="1519" y="1084"/>
                  </a:lnTo>
                  <a:lnTo>
                    <a:pt x="1519" y="1091"/>
                  </a:lnTo>
                  <a:lnTo>
                    <a:pt x="1519" y="1098"/>
                  </a:lnTo>
                  <a:lnTo>
                    <a:pt x="1518" y="1105"/>
                  </a:lnTo>
                  <a:lnTo>
                    <a:pt x="1517" y="1113"/>
                  </a:lnTo>
                  <a:lnTo>
                    <a:pt x="1514" y="1118"/>
                  </a:lnTo>
                  <a:lnTo>
                    <a:pt x="1512" y="1125"/>
                  </a:lnTo>
                  <a:lnTo>
                    <a:pt x="1507" y="1132"/>
                  </a:lnTo>
                  <a:lnTo>
                    <a:pt x="1504" y="1137"/>
                  </a:lnTo>
                  <a:lnTo>
                    <a:pt x="1498" y="1143"/>
                  </a:lnTo>
                  <a:lnTo>
                    <a:pt x="1494" y="1148"/>
                  </a:lnTo>
                  <a:lnTo>
                    <a:pt x="1488" y="1152"/>
                  </a:lnTo>
                  <a:lnTo>
                    <a:pt x="1483" y="1155"/>
                  </a:lnTo>
                  <a:lnTo>
                    <a:pt x="1476" y="1159"/>
                  </a:lnTo>
                  <a:lnTo>
                    <a:pt x="1469" y="1161"/>
                  </a:lnTo>
                  <a:lnTo>
                    <a:pt x="1462" y="1163"/>
                  </a:lnTo>
                  <a:lnTo>
                    <a:pt x="1456" y="1165"/>
                  </a:lnTo>
                  <a:lnTo>
                    <a:pt x="1449" y="1165"/>
                  </a:lnTo>
                  <a:lnTo>
                    <a:pt x="1442" y="1165"/>
                  </a:lnTo>
                  <a:lnTo>
                    <a:pt x="1435" y="1163"/>
                  </a:lnTo>
                  <a:lnTo>
                    <a:pt x="1428" y="1162"/>
                  </a:lnTo>
                  <a:lnTo>
                    <a:pt x="1422" y="1160"/>
                  </a:lnTo>
                  <a:lnTo>
                    <a:pt x="1415" y="1157"/>
                  </a:lnTo>
                  <a:lnTo>
                    <a:pt x="1409" y="1153"/>
                  </a:lnTo>
                  <a:lnTo>
                    <a:pt x="828" y="778"/>
                  </a:lnTo>
                  <a:lnTo>
                    <a:pt x="811" y="796"/>
                  </a:lnTo>
                  <a:lnTo>
                    <a:pt x="793" y="813"/>
                  </a:lnTo>
                  <a:lnTo>
                    <a:pt x="775" y="830"/>
                  </a:lnTo>
                  <a:lnTo>
                    <a:pt x="755" y="846"/>
                  </a:lnTo>
                  <a:lnTo>
                    <a:pt x="735" y="860"/>
                  </a:lnTo>
                  <a:lnTo>
                    <a:pt x="714" y="873"/>
                  </a:lnTo>
                  <a:lnTo>
                    <a:pt x="692" y="886"/>
                  </a:lnTo>
                  <a:lnTo>
                    <a:pt x="670" y="897"/>
                  </a:lnTo>
                  <a:lnTo>
                    <a:pt x="647" y="907"/>
                  </a:lnTo>
                  <a:lnTo>
                    <a:pt x="623" y="916"/>
                  </a:lnTo>
                  <a:lnTo>
                    <a:pt x="600" y="924"/>
                  </a:lnTo>
                  <a:lnTo>
                    <a:pt x="575" y="930"/>
                  </a:lnTo>
                  <a:lnTo>
                    <a:pt x="549" y="935"/>
                  </a:lnTo>
                  <a:lnTo>
                    <a:pt x="524" y="939"/>
                  </a:lnTo>
                  <a:lnTo>
                    <a:pt x="497" y="941"/>
                  </a:lnTo>
                  <a:lnTo>
                    <a:pt x="471" y="941"/>
                  </a:lnTo>
                  <a:lnTo>
                    <a:pt x="447" y="941"/>
                  </a:lnTo>
                  <a:lnTo>
                    <a:pt x="422" y="939"/>
                  </a:lnTo>
                  <a:lnTo>
                    <a:pt x="400" y="935"/>
                  </a:lnTo>
                  <a:lnTo>
                    <a:pt x="376" y="932"/>
                  </a:lnTo>
                  <a:lnTo>
                    <a:pt x="353" y="926"/>
                  </a:lnTo>
                  <a:lnTo>
                    <a:pt x="331" y="921"/>
                  </a:lnTo>
                  <a:lnTo>
                    <a:pt x="309" y="913"/>
                  </a:lnTo>
                  <a:lnTo>
                    <a:pt x="288" y="905"/>
                  </a:lnTo>
                  <a:lnTo>
                    <a:pt x="266" y="895"/>
                  </a:lnTo>
                  <a:lnTo>
                    <a:pt x="246" y="884"/>
                  </a:lnTo>
                  <a:lnTo>
                    <a:pt x="227" y="873"/>
                  </a:lnTo>
                  <a:lnTo>
                    <a:pt x="208" y="861"/>
                  </a:lnTo>
                  <a:lnTo>
                    <a:pt x="190" y="848"/>
                  </a:lnTo>
                  <a:lnTo>
                    <a:pt x="172" y="834"/>
                  </a:lnTo>
                  <a:lnTo>
                    <a:pt x="155" y="819"/>
                  </a:lnTo>
                  <a:lnTo>
                    <a:pt x="138" y="803"/>
                  </a:lnTo>
                  <a:lnTo>
                    <a:pt x="123" y="787"/>
                  </a:lnTo>
                  <a:lnTo>
                    <a:pt x="108" y="770"/>
                  </a:lnTo>
                  <a:lnTo>
                    <a:pt x="94" y="752"/>
                  </a:lnTo>
                  <a:lnTo>
                    <a:pt x="81" y="734"/>
                  </a:lnTo>
                  <a:lnTo>
                    <a:pt x="69" y="715"/>
                  </a:lnTo>
                  <a:lnTo>
                    <a:pt x="58" y="695"/>
                  </a:lnTo>
                  <a:lnTo>
                    <a:pt x="46" y="674"/>
                  </a:lnTo>
                  <a:lnTo>
                    <a:pt x="37" y="654"/>
                  </a:lnTo>
                  <a:lnTo>
                    <a:pt x="29" y="633"/>
                  </a:lnTo>
                  <a:lnTo>
                    <a:pt x="21" y="611"/>
                  </a:lnTo>
                  <a:lnTo>
                    <a:pt x="16" y="589"/>
                  </a:lnTo>
                  <a:lnTo>
                    <a:pt x="10" y="566"/>
                  </a:lnTo>
                  <a:lnTo>
                    <a:pt x="6" y="542"/>
                  </a:lnTo>
                  <a:lnTo>
                    <a:pt x="3" y="519"/>
                  </a:lnTo>
                  <a:lnTo>
                    <a:pt x="1" y="495"/>
                  </a:lnTo>
                  <a:lnTo>
                    <a:pt x="0" y="471"/>
                  </a:lnTo>
                  <a:lnTo>
                    <a:pt x="1" y="446"/>
                  </a:lnTo>
                  <a:lnTo>
                    <a:pt x="3" y="423"/>
                  </a:lnTo>
                  <a:lnTo>
                    <a:pt x="6" y="399"/>
                  </a:lnTo>
                  <a:lnTo>
                    <a:pt x="10" y="376"/>
                  </a:lnTo>
                  <a:lnTo>
                    <a:pt x="16" y="354"/>
                  </a:lnTo>
                  <a:lnTo>
                    <a:pt x="21" y="331"/>
                  </a:lnTo>
                  <a:lnTo>
                    <a:pt x="29" y="308"/>
                  </a:lnTo>
                  <a:lnTo>
                    <a:pt x="37" y="288"/>
                  </a:lnTo>
                  <a:lnTo>
                    <a:pt x="46" y="267"/>
                  </a:lnTo>
                  <a:lnTo>
                    <a:pt x="58" y="246"/>
                  </a:lnTo>
                  <a:lnTo>
                    <a:pt x="69" y="227"/>
                  </a:lnTo>
                  <a:lnTo>
                    <a:pt x="81" y="208"/>
                  </a:lnTo>
                  <a:lnTo>
                    <a:pt x="94" y="189"/>
                  </a:lnTo>
                  <a:lnTo>
                    <a:pt x="108" y="172"/>
                  </a:lnTo>
                  <a:lnTo>
                    <a:pt x="123" y="155"/>
                  </a:lnTo>
                  <a:lnTo>
                    <a:pt x="138" y="138"/>
                  </a:lnTo>
                  <a:lnTo>
                    <a:pt x="155" y="122"/>
                  </a:lnTo>
                  <a:lnTo>
                    <a:pt x="172" y="107"/>
                  </a:lnTo>
                  <a:lnTo>
                    <a:pt x="190" y="94"/>
                  </a:lnTo>
                  <a:lnTo>
                    <a:pt x="208" y="80"/>
                  </a:lnTo>
                  <a:lnTo>
                    <a:pt x="227" y="68"/>
                  </a:lnTo>
                  <a:lnTo>
                    <a:pt x="246" y="57"/>
                  </a:lnTo>
                  <a:lnTo>
                    <a:pt x="266" y="46"/>
                  </a:lnTo>
                  <a:lnTo>
                    <a:pt x="288" y="37"/>
                  </a:lnTo>
                  <a:lnTo>
                    <a:pt x="309" y="28"/>
                  </a:lnTo>
                  <a:lnTo>
                    <a:pt x="331" y="22"/>
                  </a:lnTo>
                  <a:lnTo>
                    <a:pt x="353" y="15"/>
                  </a:lnTo>
                  <a:lnTo>
                    <a:pt x="376" y="10"/>
                  </a:lnTo>
                  <a:lnTo>
                    <a:pt x="400" y="6"/>
                  </a:lnTo>
                  <a:lnTo>
                    <a:pt x="422" y="2"/>
                  </a:lnTo>
                  <a:lnTo>
                    <a:pt x="447" y="1"/>
                  </a:lnTo>
                  <a:lnTo>
                    <a:pt x="471" y="0"/>
                  </a:lnTo>
                  <a:close/>
                  <a:moveTo>
                    <a:pt x="471" y="112"/>
                  </a:moveTo>
                  <a:lnTo>
                    <a:pt x="489" y="112"/>
                  </a:lnTo>
                  <a:lnTo>
                    <a:pt x="507" y="114"/>
                  </a:lnTo>
                  <a:lnTo>
                    <a:pt x="525" y="116"/>
                  </a:lnTo>
                  <a:lnTo>
                    <a:pt x="543" y="119"/>
                  </a:lnTo>
                  <a:lnTo>
                    <a:pt x="560" y="123"/>
                  </a:lnTo>
                  <a:lnTo>
                    <a:pt x="577" y="128"/>
                  </a:lnTo>
                  <a:lnTo>
                    <a:pt x="594" y="133"/>
                  </a:lnTo>
                  <a:lnTo>
                    <a:pt x="611" y="140"/>
                  </a:lnTo>
                  <a:lnTo>
                    <a:pt x="627" y="147"/>
                  </a:lnTo>
                  <a:lnTo>
                    <a:pt x="641" y="155"/>
                  </a:lnTo>
                  <a:lnTo>
                    <a:pt x="657" y="164"/>
                  </a:lnTo>
                  <a:lnTo>
                    <a:pt x="672" y="173"/>
                  </a:lnTo>
                  <a:lnTo>
                    <a:pt x="685" y="183"/>
                  </a:lnTo>
                  <a:lnTo>
                    <a:pt x="699" y="194"/>
                  </a:lnTo>
                  <a:lnTo>
                    <a:pt x="713" y="206"/>
                  </a:lnTo>
                  <a:lnTo>
                    <a:pt x="725" y="217"/>
                  </a:lnTo>
                  <a:lnTo>
                    <a:pt x="736" y="229"/>
                  </a:lnTo>
                  <a:lnTo>
                    <a:pt x="748" y="243"/>
                  </a:lnTo>
                  <a:lnTo>
                    <a:pt x="759" y="256"/>
                  </a:lnTo>
                  <a:lnTo>
                    <a:pt x="768" y="270"/>
                  </a:lnTo>
                  <a:lnTo>
                    <a:pt x="778" y="285"/>
                  </a:lnTo>
                  <a:lnTo>
                    <a:pt x="786" y="299"/>
                  </a:lnTo>
                  <a:lnTo>
                    <a:pt x="794" y="315"/>
                  </a:lnTo>
                  <a:lnTo>
                    <a:pt x="802" y="331"/>
                  </a:lnTo>
                  <a:lnTo>
                    <a:pt x="807" y="347"/>
                  </a:lnTo>
                  <a:lnTo>
                    <a:pt x="813" y="364"/>
                  </a:lnTo>
                  <a:lnTo>
                    <a:pt x="819" y="381"/>
                  </a:lnTo>
                  <a:lnTo>
                    <a:pt x="822" y="399"/>
                  </a:lnTo>
                  <a:lnTo>
                    <a:pt x="825" y="416"/>
                  </a:lnTo>
                  <a:lnTo>
                    <a:pt x="828" y="434"/>
                  </a:lnTo>
                  <a:lnTo>
                    <a:pt x="829" y="452"/>
                  </a:lnTo>
                  <a:lnTo>
                    <a:pt x="830" y="471"/>
                  </a:lnTo>
                  <a:lnTo>
                    <a:pt x="829" y="489"/>
                  </a:lnTo>
                  <a:lnTo>
                    <a:pt x="828" y="507"/>
                  </a:lnTo>
                  <a:lnTo>
                    <a:pt x="825" y="525"/>
                  </a:lnTo>
                  <a:lnTo>
                    <a:pt x="822" y="543"/>
                  </a:lnTo>
                  <a:lnTo>
                    <a:pt x="819" y="560"/>
                  </a:lnTo>
                  <a:lnTo>
                    <a:pt x="813" y="577"/>
                  </a:lnTo>
                  <a:lnTo>
                    <a:pt x="807" y="594"/>
                  </a:lnTo>
                  <a:lnTo>
                    <a:pt x="802" y="610"/>
                  </a:lnTo>
                  <a:lnTo>
                    <a:pt x="794" y="626"/>
                  </a:lnTo>
                  <a:lnTo>
                    <a:pt x="786" y="642"/>
                  </a:lnTo>
                  <a:lnTo>
                    <a:pt x="778" y="656"/>
                  </a:lnTo>
                  <a:lnTo>
                    <a:pt x="768" y="671"/>
                  </a:lnTo>
                  <a:lnTo>
                    <a:pt x="759" y="686"/>
                  </a:lnTo>
                  <a:lnTo>
                    <a:pt x="748" y="699"/>
                  </a:lnTo>
                  <a:lnTo>
                    <a:pt x="736" y="712"/>
                  </a:lnTo>
                  <a:lnTo>
                    <a:pt x="725" y="724"/>
                  </a:lnTo>
                  <a:lnTo>
                    <a:pt x="713" y="736"/>
                  </a:lnTo>
                  <a:lnTo>
                    <a:pt x="699" y="748"/>
                  </a:lnTo>
                  <a:lnTo>
                    <a:pt x="685" y="758"/>
                  </a:lnTo>
                  <a:lnTo>
                    <a:pt x="672" y="768"/>
                  </a:lnTo>
                  <a:lnTo>
                    <a:pt x="657" y="777"/>
                  </a:lnTo>
                  <a:lnTo>
                    <a:pt x="641" y="786"/>
                  </a:lnTo>
                  <a:lnTo>
                    <a:pt x="627" y="794"/>
                  </a:lnTo>
                  <a:lnTo>
                    <a:pt x="611" y="801"/>
                  </a:lnTo>
                  <a:lnTo>
                    <a:pt x="594" y="808"/>
                  </a:lnTo>
                  <a:lnTo>
                    <a:pt x="577" y="813"/>
                  </a:lnTo>
                  <a:lnTo>
                    <a:pt x="560" y="818"/>
                  </a:lnTo>
                  <a:lnTo>
                    <a:pt x="543" y="822"/>
                  </a:lnTo>
                  <a:lnTo>
                    <a:pt x="525" y="826"/>
                  </a:lnTo>
                  <a:lnTo>
                    <a:pt x="507" y="828"/>
                  </a:lnTo>
                  <a:lnTo>
                    <a:pt x="489" y="829"/>
                  </a:lnTo>
                  <a:lnTo>
                    <a:pt x="471" y="829"/>
                  </a:lnTo>
                  <a:lnTo>
                    <a:pt x="453" y="829"/>
                  </a:lnTo>
                  <a:lnTo>
                    <a:pt x="434" y="828"/>
                  </a:lnTo>
                  <a:lnTo>
                    <a:pt x="417" y="826"/>
                  </a:lnTo>
                  <a:lnTo>
                    <a:pt x="399" y="822"/>
                  </a:lnTo>
                  <a:lnTo>
                    <a:pt x="382" y="818"/>
                  </a:lnTo>
                  <a:lnTo>
                    <a:pt x="365" y="813"/>
                  </a:lnTo>
                  <a:lnTo>
                    <a:pt x="348" y="808"/>
                  </a:lnTo>
                  <a:lnTo>
                    <a:pt x="331" y="801"/>
                  </a:lnTo>
                  <a:lnTo>
                    <a:pt x="315" y="794"/>
                  </a:lnTo>
                  <a:lnTo>
                    <a:pt x="300" y="786"/>
                  </a:lnTo>
                  <a:lnTo>
                    <a:pt x="285" y="777"/>
                  </a:lnTo>
                  <a:lnTo>
                    <a:pt x="270" y="768"/>
                  </a:lnTo>
                  <a:lnTo>
                    <a:pt x="256" y="758"/>
                  </a:lnTo>
                  <a:lnTo>
                    <a:pt x="243" y="748"/>
                  </a:lnTo>
                  <a:lnTo>
                    <a:pt x="229" y="736"/>
                  </a:lnTo>
                  <a:lnTo>
                    <a:pt x="217" y="724"/>
                  </a:lnTo>
                  <a:lnTo>
                    <a:pt x="206" y="712"/>
                  </a:lnTo>
                  <a:lnTo>
                    <a:pt x="194" y="699"/>
                  </a:lnTo>
                  <a:lnTo>
                    <a:pt x="183" y="686"/>
                  </a:lnTo>
                  <a:lnTo>
                    <a:pt x="174" y="671"/>
                  </a:lnTo>
                  <a:lnTo>
                    <a:pt x="164" y="656"/>
                  </a:lnTo>
                  <a:lnTo>
                    <a:pt x="156" y="642"/>
                  </a:lnTo>
                  <a:lnTo>
                    <a:pt x="148" y="626"/>
                  </a:lnTo>
                  <a:lnTo>
                    <a:pt x="140" y="610"/>
                  </a:lnTo>
                  <a:lnTo>
                    <a:pt x="134" y="594"/>
                  </a:lnTo>
                  <a:lnTo>
                    <a:pt x="129" y="577"/>
                  </a:lnTo>
                  <a:lnTo>
                    <a:pt x="123" y="560"/>
                  </a:lnTo>
                  <a:lnTo>
                    <a:pt x="120" y="543"/>
                  </a:lnTo>
                  <a:lnTo>
                    <a:pt x="116" y="525"/>
                  </a:lnTo>
                  <a:lnTo>
                    <a:pt x="114" y="507"/>
                  </a:lnTo>
                  <a:lnTo>
                    <a:pt x="113" y="489"/>
                  </a:lnTo>
                  <a:lnTo>
                    <a:pt x="112" y="471"/>
                  </a:lnTo>
                  <a:lnTo>
                    <a:pt x="113" y="452"/>
                  </a:lnTo>
                  <a:lnTo>
                    <a:pt x="114" y="434"/>
                  </a:lnTo>
                  <a:lnTo>
                    <a:pt x="116" y="416"/>
                  </a:lnTo>
                  <a:lnTo>
                    <a:pt x="120" y="399"/>
                  </a:lnTo>
                  <a:lnTo>
                    <a:pt x="123" y="381"/>
                  </a:lnTo>
                  <a:lnTo>
                    <a:pt x="129" y="364"/>
                  </a:lnTo>
                  <a:lnTo>
                    <a:pt x="134" y="347"/>
                  </a:lnTo>
                  <a:lnTo>
                    <a:pt x="140" y="331"/>
                  </a:lnTo>
                  <a:lnTo>
                    <a:pt x="148" y="315"/>
                  </a:lnTo>
                  <a:lnTo>
                    <a:pt x="156" y="299"/>
                  </a:lnTo>
                  <a:lnTo>
                    <a:pt x="164" y="285"/>
                  </a:lnTo>
                  <a:lnTo>
                    <a:pt x="174" y="270"/>
                  </a:lnTo>
                  <a:lnTo>
                    <a:pt x="183" y="256"/>
                  </a:lnTo>
                  <a:lnTo>
                    <a:pt x="194" y="243"/>
                  </a:lnTo>
                  <a:lnTo>
                    <a:pt x="206" y="229"/>
                  </a:lnTo>
                  <a:lnTo>
                    <a:pt x="217" y="217"/>
                  </a:lnTo>
                  <a:lnTo>
                    <a:pt x="229" y="206"/>
                  </a:lnTo>
                  <a:lnTo>
                    <a:pt x="243" y="194"/>
                  </a:lnTo>
                  <a:lnTo>
                    <a:pt x="256" y="183"/>
                  </a:lnTo>
                  <a:lnTo>
                    <a:pt x="270" y="173"/>
                  </a:lnTo>
                  <a:lnTo>
                    <a:pt x="285" y="164"/>
                  </a:lnTo>
                  <a:lnTo>
                    <a:pt x="300" y="155"/>
                  </a:lnTo>
                  <a:lnTo>
                    <a:pt x="315" y="147"/>
                  </a:lnTo>
                  <a:lnTo>
                    <a:pt x="331" y="140"/>
                  </a:lnTo>
                  <a:lnTo>
                    <a:pt x="348" y="133"/>
                  </a:lnTo>
                  <a:lnTo>
                    <a:pt x="365" y="128"/>
                  </a:lnTo>
                  <a:lnTo>
                    <a:pt x="382" y="123"/>
                  </a:lnTo>
                  <a:lnTo>
                    <a:pt x="399" y="119"/>
                  </a:lnTo>
                  <a:lnTo>
                    <a:pt x="417" y="116"/>
                  </a:lnTo>
                  <a:lnTo>
                    <a:pt x="434" y="114"/>
                  </a:lnTo>
                  <a:lnTo>
                    <a:pt x="453" y="112"/>
                  </a:lnTo>
                  <a:lnTo>
                    <a:pt x="471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71"/>
            <p:cNvSpPr>
              <a:spLocks/>
            </p:cNvSpPr>
            <p:nvPr/>
          </p:nvSpPr>
          <p:spPr bwMode="auto">
            <a:xfrm>
              <a:off x="677863" y="2493963"/>
              <a:ext cx="93663" cy="138113"/>
            </a:xfrm>
            <a:custGeom>
              <a:avLst/>
              <a:gdLst>
                <a:gd name="T0" fmla="*/ 279 w 294"/>
                <a:gd name="T1" fmla="*/ 0 h 433"/>
                <a:gd name="T2" fmla="*/ 287 w 294"/>
                <a:gd name="T3" fmla="*/ 22 h 433"/>
                <a:gd name="T4" fmla="*/ 294 w 294"/>
                <a:gd name="T5" fmla="*/ 44 h 433"/>
                <a:gd name="T6" fmla="*/ 279 w 294"/>
                <a:gd name="T7" fmla="*/ 44 h 433"/>
                <a:gd name="T8" fmla="*/ 255 w 294"/>
                <a:gd name="T9" fmla="*/ 46 h 433"/>
                <a:gd name="T10" fmla="*/ 232 w 294"/>
                <a:gd name="T11" fmla="*/ 49 h 433"/>
                <a:gd name="T12" fmla="*/ 209 w 294"/>
                <a:gd name="T13" fmla="*/ 55 h 433"/>
                <a:gd name="T14" fmla="*/ 188 w 294"/>
                <a:gd name="T15" fmla="*/ 63 h 433"/>
                <a:gd name="T16" fmla="*/ 147 w 294"/>
                <a:gd name="T17" fmla="*/ 85 h 433"/>
                <a:gd name="T18" fmla="*/ 113 w 294"/>
                <a:gd name="T19" fmla="*/ 113 h 433"/>
                <a:gd name="T20" fmla="*/ 84 w 294"/>
                <a:gd name="T21" fmla="*/ 148 h 433"/>
                <a:gd name="T22" fmla="*/ 62 w 294"/>
                <a:gd name="T23" fmla="*/ 188 h 433"/>
                <a:gd name="T24" fmla="*/ 54 w 294"/>
                <a:gd name="T25" fmla="*/ 209 h 433"/>
                <a:gd name="T26" fmla="*/ 49 w 294"/>
                <a:gd name="T27" fmla="*/ 232 h 433"/>
                <a:gd name="T28" fmla="*/ 45 w 294"/>
                <a:gd name="T29" fmla="*/ 256 h 433"/>
                <a:gd name="T30" fmla="*/ 44 w 294"/>
                <a:gd name="T31" fmla="*/ 279 h 433"/>
                <a:gd name="T32" fmla="*/ 47 w 294"/>
                <a:gd name="T33" fmla="*/ 319 h 433"/>
                <a:gd name="T34" fmla="*/ 57 w 294"/>
                <a:gd name="T35" fmla="*/ 355 h 433"/>
                <a:gd name="T36" fmla="*/ 71 w 294"/>
                <a:gd name="T37" fmla="*/ 390 h 433"/>
                <a:gd name="T38" fmla="*/ 91 w 294"/>
                <a:gd name="T39" fmla="*/ 421 h 433"/>
                <a:gd name="T40" fmla="*/ 69 w 294"/>
                <a:gd name="T41" fmla="*/ 427 h 433"/>
                <a:gd name="T42" fmla="*/ 45 w 294"/>
                <a:gd name="T43" fmla="*/ 433 h 433"/>
                <a:gd name="T44" fmla="*/ 26 w 294"/>
                <a:gd name="T45" fmla="*/ 398 h 433"/>
                <a:gd name="T46" fmla="*/ 12 w 294"/>
                <a:gd name="T47" fmla="*/ 361 h 433"/>
                <a:gd name="T48" fmla="*/ 3 w 294"/>
                <a:gd name="T49" fmla="*/ 321 h 433"/>
                <a:gd name="T50" fmla="*/ 0 w 294"/>
                <a:gd name="T51" fmla="*/ 279 h 433"/>
                <a:gd name="T52" fmla="*/ 1 w 294"/>
                <a:gd name="T53" fmla="*/ 251 h 433"/>
                <a:gd name="T54" fmla="*/ 6 w 294"/>
                <a:gd name="T55" fmla="*/ 223 h 433"/>
                <a:gd name="T56" fmla="*/ 13 w 294"/>
                <a:gd name="T57" fmla="*/ 197 h 433"/>
                <a:gd name="T58" fmla="*/ 22 w 294"/>
                <a:gd name="T59" fmla="*/ 171 h 433"/>
                <a:gd name="T60" fmla="*/ 34 w 294"/>
                <a:gd name="T61" fmla="*/ 146 h 433"/>
                <a:gd name="T62" fmla="*/ 48 w 294"/>
                <a:gd name="T63" fmla="*/ 124 h 433"/>
                <a:gd name="T64" fmla="*/ 63 w 294"/>
                <a:gd name="T65" fmla="*/ 102 h 433"/>
                <a:gd name="T66" fmla="*/ 82 w 294"/>
                <a:gd name="T67" fmla="*/ 82 h 433"/>
                <a:gd name="T68" fmla="*/ 102 w 294"/>
                <a:gd name="T69" fmla="*/ 65 h 433"/>
                <a:gd name="T70" fmla="*/ 123 w 294"/>
                <a:gd name="T71" fmla="*/ 48 h 433"/>
                <a:gd name="T72" fmla="*/ 146 w 294"/>
                <a:gd name="T73" fmla="*/ 34 h 433"/>
                <a:gd name="T74" fmla="*/ 171 w 294"/>
                <a:gd name="T75" fmla="*/ 23 h 433"/>
                <a:gd name="T76" fmla="*/ 196 w 294"/>
                <a:gd name="T77" fmla="*/ 13 h 433"/>
                <a:gd name="T78" fmla="*/ 223 w 294"/>
                <a:gd name="T79" fmla="*/ 6 h 433"/>
                <a:gd name="T80" fmla="*/ 251 w 294"/>
                <a:gd name="T81" fmla="*/ 2 h 433"/>
                <a:gd name="T82" fmla="*/ 279 w 294"/>
                <a:gd name="T8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4" h="433">
                  <a:moveTo>
                    <a:pt x="279" y="0"/>
                  </a:moveTo>
                  <a:lnTo>
                    <a:pt x="279" y="0"/>
                  </a:lnTo>
                  <a:lnTo>
                    <a:pt x="284" y="12"/>
                  </a:lnTo>
                  <a:lnTo>
                    <a:pt x="287" y="22"/>
                  </a:lnTo>
                  <a:lnTo>
                    <a:pt x="290" y="33"/>
                  </a:lnTo>
                  <a:lnTo>
                    <a:pt x="294" y="44"/>
                  </a:lnTo>
                  <a:lnTo>
                    <a:pt x="286" y="44"/>
                  </a:lnTo>
                  <a:lnTo>
                    <a:pt x="279" y="44"/>
                  </a:lnTo>
                  <a:lnTo>
                    <a:pt x="267" y="44"/>
                  </a:lnTo>
                  <a:lnTo>
                    <a:pt x="255" y="46"/>
                  </a:lnTo>
                  <a:lnTo>
                    <a:pt x="243" y="47"/>
                  </a:lnTo>
                  <a:lnTo>
                    <a:pt x="232" y="49"/>
                  </a:lnTo>
                  <a:lnTo>
                    <a:pt x="220" y="51"/>
                  </a:lnTo>
                  <a:lnTo>
                    <a:pt x="209" y="55"/>
                  </a:lnTo>
                  <a:lnTo>
                    <a:pt x="198" y="59"/>
                  </a:lnTo>
                  <a:lnTo>
                    <a:pt x="188" y="63"/>
                  </a:lnTo>
                  <a:lnTo>
                    <a:pt x="167" y="73"/>
                  </a:lnTo>
                  <a:lnTo>
                    <a:pt x="147" y="85"/>
                  </a:lnTo>
                  <a:lnTo>
                    <a:pt x="129" y="98"/>
                  </a:lnTo>
                  <a:lnTo>
                    <a:pt x="113" y="113"/>
                  </a:lnTo>
                  <a:lnTo>
                    <a:pt x="97" y="130"/>
                  </a:lnTo>
                  <a:lnTo>
                    <a:pt x="84" y="148"/>
                  </a:lnTo>
                  <a:lnTo>
                    <a:pt x="73" y="168"/>
                  </a:lnTo>
                  <a:lnTo>
                    <a:pt x="62" y="188"/>
                  </a:lnTo>
                  <a:lnTo>
                    <a:pt x="58" y="199"/>
                  </a:lnTo>
                  <a:lnTo>
                    <a:pt x="54" y="209"/>
                  </a:lnTo>
                  <a:lnTo>
                    <a:pt x="51" y="221"/>
                  </a:lnTo>
                  <a:lnTo>
                    <a:pt x="49" y="232"/>
                  </a:lnTo>
                  <a:lnTo>
                    <a:pt x="47" y="244"/>
                  </a:lnTo>
                  <a:lnTo>
                    <a:pt x="45" y="256"/>
                  </a:lnTo>
                  <a:lnTo>
                    <a:pt x="44" y="268"/>
                  </a:lnTo>
                  <a:lnTo>
                    <a:pt x="44" y="279"/>
                  </a:lnTo>
                  <a:lnTo>
                    <a:pt x="44" y="300"/>
                  </a:lnTo>
                  <a:lnTo>
                    <a:pt x="47" y="319"/>
                  </a:lnTo>
                  <a:lnTo>
                    <a:pt x="51" y="337"/>
                  </a:lnTo>
                  <a:lnTo>
                    <a:pt x="57" y="355"/>
                  </a:lnTo>
                  <a:lnTo>
                    <a:pt x="62" y="373"/>
                  </a:lnTo>
                  <a:lnTo>
                    <a:pt x="71" y="390"/>
                  </a:lnTo>
                  <a:lnTo>
                    <a:pt x="80" y="406"/>
                  </a:lnTo>
                  <a:lnTo>
                    <a:pt x="91" y="421"/>
                  </a:lnTo>
                  <a:lnTo>
                    <a:pt x="79" y="424"/>
                  </a:lnTo>
                  <a:lnTo>
                    <a:pt x="69" y="427"/>
                  </a:lnTo>
                  <a:lnTo>
                    <a:pt x="58" y="431"/>
                  </a:lnTo>
                  <a:lnTo>
                    <a:pt x="45" y="433"/>
                  </a:lnTo>
                  <a:lnTo>
                    <a:pt x="35" y="416"/>
                  </a:lnTo>
                  <a:lnTo>
                    <a:pt x="26" y="398"/>
                  </a:lnTo>
                  <a:lnTo>
                    <a:pt x="18" y="380"/>
                  </a:lnTo>
                  <a:lnTo>
                    <a:pt x="12" y="361"/>
                  </a:lnTo>
                  <a:lnTo>
                    <a:pt x="7" y="341"/>
                  </a:lnTo>
                  <a:lnTo>
                    <a:pt x="3" y="321"/>
                  </a:lnTo>
                  <a:lnTo>
                    <a:pt x="0" y="301"/>
                  </a:lnTo>
                  <a:lnTo>
                    <a:pt x="0" y="279"/>
                  </a:lnTo>
                  <a:lnTo>
                    <a:pt x="0" y="266"/>
                  </a:lnTo>
                  <a:lnTo>
                    <a:pt x="1" y="251"/>
                  </a:lnTo>
                  <a:lnTo>
                    <a:pt x="4" y="238"/>
                  </a:lnTo>
                  <a:lnTo>
                    <a:pt x="6" y="223"/>
                  </a:lnTo>
                  <a:lnTo>
                    <a:pt x="8" y="209"/>
                  </a:lnTo>
                  <a:lnTo>
                    <a:pt x="13" y="197"/>
                  </a:lnTo>
                  <a:lnTo>
                    <a:pt x="17" y="183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4" y="146"/>
                  </a:lnTo>
                  <a:lnTo>
                    <a:pt x="40" y="135"/>
                  </a:lnTo>
                  <a:lnTo>
                    <a:pt x="48" y="124"/>
                  </a:lnTo>
                  <a:lnTo>
                    <a:pt x="56" y="112"/>
                  </a:lnTo>
                  <a:lnTo>
                    <a:pt x="63" y="102"/>
                  </a:lnTo>
                  <a:lnTo>
                    <a:pt x="73" y="92"/>
                  </a:lnTo>
                  <a:lnTo>
                    <a:pt x="82" y="82"/>
                  </a:lnTo>
                  <a:lnTo>
                    <a:pt x="92" y="73"/>
                  </a:lnTo>
                  <a:lnTo>
                    <a:pt x="102" y="65"/>
                  </a:lnTo>
                  <a:lnTo>
                    <a:pt x="112" y="56"/>
                  </a:lnTo>
                  <a:lnTo>
                    <a:pt x="123" y="48"/>
                  </a:lnTo>
                  <a:lnTo>
                    <a:pt x="135" y="41"/>
                  </a:lnTo>
                  <a:lnTo>
                    <a:pt x="146" y="34"/>
                  </a:lnTo>
                  <a:lnTo>
                    <a:pt x="158" y="28"/>
                  </a:lnTo>
                  <a:lnTo>
                    <a:pt x="171" y="23"/>
                  </a:lnTo>
                  <a:lnTo>
                    <a:pt x="183" y="17"/>
                  </a:lnTo>
                  <a:lnTo>
                    <a:pt x="196" y="13"/>
                  </a:lnTo>
                  <a:lnTo>
                    <a:pt x="209" y="9"/>
                  </a:lnTo>
                  <a:lnTo>
                    <a:pt x="223" y="6"/>
                  </a:lnTo>
                  <a:lnTo>
                    <a:pt x="236" y="4"/>
                  </a:lnTo>
                  <a:lnTo>
                    <a:pt x="251" y="2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572000" y="5002143"/>
            <a:ext cx="404074" cy="370709"/>
            <a:chOff x="-1447800" y="2895600"/>
            <a:chExt cx="346075" cy="317501"/>
          </a:xfrm>
          <a:solidFill>
            <a:schemeClr val="bg1"/>
          </a:solidFill>
          <a:effectLst/>
        </p:grpSpPr>
        <p:sp>
          <p:nvSpPr>
            <p:cNvPr id="26" name="Freeform 5"/>
            <p:cNvSpPr>
              <a:spLocks noEditPoints="1"/>
            </p:cNvSpPr>
            <p:nvPr/>
          </p:nvSpPr>
          <p:spPr bwMode="auto">
            <a:xfrm>
              <a:off x="-1447800" y="2895600"/>
              <a:ext cx="225425" cy="227013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-1262063" y="3052763"/>
              <a:ext cx="160338" cy="160338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</p:grpSp>
      <p:grpSp>
        <p:nvGrpSpPr>
          <p:cNvPr id="28" name="Group 7"/>
          <p:cNvGrpSpPr>
            <a:grpSpLocks noChangeAspect="1"/>
          </p:cNvGrpSpPr>
          <p:nvPr/>
        </p:nvGrpSpPr>
        <p:grpSpPr bwMode="auto">
          <a:xfrm>
            <a:off x="2939334" y="3720928"/>
            <a:ext cx="387299" cy="486900"/>
            <a:chOff x="1590" y="634"/>
            <a:chExt cx="2197" cy="2762"/>
          </a:xfrm>
          <a:solidFill>
            <a:schemeClr val="bg1"/>
          </a:solidFill>
          <a:effectLst/>
        </p:grpSpPr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2216" y="634"/>
              <a:ext cx="552" cy="552"/>
            </a:xfrm>
            <a:custGeom>
              <a:avLst/>
              <a:gdLst>
                <a:gd name="T0" fmla="*/ 1825 w 3312"/>
                <a:gd name="T1" fmla="*/ 8 h 3311"/>
                <a:gd name="T2" fmla="*/ 2070 w 3312"/>
                <a:gd name="T3" fmla="*/ 52 h 3311"/>
                <a:gd name="T4" fmla="*/ 2301 w 3312"/>
                <a:gd name="T5" fmla="*/ 131 h 3311"/>
                <a:gd name="T6" fmla="*/ 2514 w 3312"/>
                <a:gd name="T7" fmla="*/ 239 h 3311"/>
                <a:gd name="T8" fmla="*/ 2709 w 3312"/>
                <a:gd name="T9" fmla="*/ 378 h 3311"/>
                <a:gd name="T10" fmla="*/ 2882 w 3312"/>
                <a:gd name="T11" fmla="*/ 543 h 3311"/>
                <a:gd name="T12" fmla="*/ 3029 w 3312"/>
                <a:gd name="T13" fmla="*/ 730 h 3311"/>
                <a:gd name="T14" fmla="*/ 3148 w 3312"/>
                <a:gd name="T15" fmla="*/ 937 h 3311"/>
                <a:gd name="T16" fmla="*/ 3237 w 3312"/>
                <a:gd name="T17" fmla="*/ 1163 h 3311"/>
                <a:gd name="T18" fmla="*/ 3292 w 3312"/>
                <a:gd name="T19" fmla="*/ 1403 h 3311"/>
                <a:gd name="T20" fmla="*/ 3312 w 3312"/>
                <a:gd name="T21" fmla="*/ 1655 h 3311"/>
                <a:gd name="T22" fmla="*/ 3292 w 3312"/>
                <a:gd name="T23" fmla="*/ 1908 h 3311"/>
                <a:gd name="T24" fmla="*/ 3237 w 3312"/>
                <a:gd name="T25" fmla="*/ 2148 h 3311"/>
                <a:gd name="T26" fmla="*/ 3148 w 3312"/>
                <a:gd name="T27" fmla="*/ 2373 h 3311"/>
                <a:gd name="T28" fmla="*/ 3029 w 3312"/>
                <a:gd name="T29" fmla="*/ 2581 h 3311"/>
                <a:gd name="T30" fmla="*/ 2882 w 3312"/>
                <a:gd name="T31" fmla="*/ 2769 h 3311"/>
                <a:gd name="T32" fmla="*/ 2709 w 3312"/>
                <a:gd name="T33" fmla="*/ 2933 h 3311"/>
                <a:gd name="T34" fmla="*/ 2514 w 3312"/>
                <a:gd name="T35" fmla="*/ 3071 h 3311"/>
                <a:gd name="T36" fmla="*/ 2301 w 3312"/>
                <a:gd name="T37" fmla="*/ 3181 h 3311"/>
                <a:gd name="T38" fmla="*/ 2070 w 3312"/>
                <a:gd name="T39" fmla="*/ 3258 h 3311"/>
                <a:gd name="T40" fmla="*/ 1825 w 3312"/>
                <a:gd name="T41" fmla="*/ 3302 h 3311"/>
                <a:gd name="T42" fmla="*/ 1570 w 3312"/>
                <a:gd name="T43" fmla="*/ 3308 h 3311"/>
                <a:gd name="T44" fmla="*/ 1322 w 3312"/>
                <a:gd name="T45" fmla="*/ 3277 h 3311"/>
                <a:gd name="T46" fmla="*/ 1087 w 3312"/>
                <a:gd name="T47" fmla="*/ 3211 h 3311"/>
                <a:gd name="T48" fmla="*/ 867 w 3312"/>
                <a:gd name="T49" fmla="*/ 3111 h 3311"/>
                <a:gd name="T50" fmla="*/ 665 w 3312"/>
                <a:gd name="T51" fmla="*/ 2982 h 3311"/>
                <a:gd name="T52" fmla="*/ 485 w 3312"/>
                <a:gd name="T53" fmla="*/ 2826 h 3311"/>
                <a:gd name="T54" fmla="*/ 329 w 3312"/>
                <a:gd name="T55" fmla="*/ 2646 h 3311"/>
                <a:gd name="T56" fmla="*/ 200 w 3312"/>
                <a:gd name="T57" fmla="*/ 2444 h 3311"/>
                <a:gd name="T58" fmla="*/ 100 w 3312"/>
                <a:gd name="T59" fmla="*/ 2225 h 3311"/>
                <a:gd name="T60" fmla="*/ 34 w 3312"/>
                <a:gd name="T61" fmla="*/ 1989 h 3311"/>
                <a:gd name="T62" fmla="*/ 2 w 3312"/>
                <a:gd name="T63" fmla="*/ 1741 h 3311"/>
                <a:gd name="T64" fmla="*/ 9 w 3312"/>
                <a:gd name="T65" fmla="*/ 1486 h 3311"/>
                <a:gd name="T66" fmla="*/ 53 w 3312"/>
                <a:gd name="T67" fmla="*/ 1242 h 3311"/>
                <a:gd name="T68" fmla="*/ 130 w 3312"/>
                <a:gd name="T69" fmla="*/ 1011 h 3311"/>
                <a:gd name="T70" fmla="*/ 240 w 3312"/>
                <a:gd name="T71" fmla="*/ 798 h 3311"/>
                <a:gd name="T72" fmla="*/ 378 w 3312"/>
                <a:gd name="T73" fmla="*/ 603 h 3311"/>
                <a:gd name="T74" fmla="*/ 543 w 3312"/>
                <a:gd name="T75" fmla="*/ 430 h 3311"/>
                <a:gd name="T76" fmla="*/ 730 w 3312"/>
                <a:gd name="T77" fmla="*/ 283 h 3311"/>
                <a:gd name="T78" fmla="*/ 938 w 3312"/>
                <a:gd name="T79" fmla="*/ 164 h 3311"/>
                <a:gd name="T80" fmla="*/ 1163 w 3312"/>
                <a:gd name="T81" fmla="*/ 75 h 3311"/>
                <a:gd name="T82" fmla="*/ 1404 w 3312"/>
                <a:gd name="T83" fmla="*/ 19 h 3311"/>
                <a:gd name="T84" fmla="*/ 1656 w 3312"/>
                <a:gd name="T85" fmla="*/ 0 h 3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2" h="3311">
                  <a:moveTo>
                    <a:pt x="1656" y="0"/>
                  </a:moveTo>
                  <a:lnTo>
                    <a:pt x="1741" y="2"/>
                  </a:lnTo>
                  <a:lnTo>
                    <a:pt x="1825" y="8"/>
                  </a:lnTo>
                  <a:lnTo>
                    <a:pt x="1908" y="19"/>
                  </a:lnTo>
                  <a:lnTo>
                    <a:pt x="1990" y="33"/>
                  </a:lnTo>
                  <a:lnTo>
                    <a:pt x="2070" y="52"/>
                  </a:lnTo>
                  <a:lnTo>
                    <a:pt x="2149" y="75"/>
                  </a:lnTo>
                  <a:lnTo>
                    <a:pt x="2225" y="100"/>
                  </a:lnTo>
                  <a:lnTo>
                    <a:pt x="2301" y="131"/>
                  </a:lnTo>
                  <a:lnTo>
                    <a:pt x="2373" y="164"/>
                  </a:lnTo>
                  <a:lnTo>
                    <a:pt x="2445" y="200"/>
                  </a:lnTo>
                  <a:lnTo>
                    <a:pt x="2514" y="239"/>
                  </a:lnTo>
                  <a:lnTo>
                    <a:pt x="2582" y="283"/>
                  </a:lnTo>
                  <a:lnTo>
                    <a:pt x="2647" y="329"/>
                  </a:lnTo>
                  <a:lnTo>
                    <a:pt x="2709" y="378"/>
                  </a:lnTo>
                  <a:lnTo>
                    <a:pt x="2769" y="430"/>
                  </a:lnTo>
                  <a:lnTo>
                    <a:pt x="2827" y="485"/>
                  </a:lnTo>
                  <a:lnTo>
                    <a:pt x="2882" y="543"/>
                  </a:lnTo>
                  <a:lnTo>
                    <a:pt x="2934" y="603"/>
                  </a:lnTo>
                  <a:lnTo>
                    <a:pt x="2983" y="665"/>
                  </a:lnTo>
                  <a:lnTo>
                    <a:pt x="3029" y="730"/>
                  </a:lnTo>
                  <a:lnTo>
                    <a:pt x="3072" y="798"/>
                  </a:lnTo>
                  <a:lnTo>
                    <a:pt x="3112" y="866"/>
                  </a:lnTo>
                  <a:lnTo>
                    <a:pt x="3148" y="937"/>
                  </a:lnTo>
                  <a:lnTo>
                    <a:pt x="3182" y="1011"/>
                  </a:lnTo>
                  <a:lnTo>
                    <a:pt x="3212" y="1087"/>
                  </a:lnTo>
                  <a:lnTo>
                    <a:pt x="3237" y="1163"/>
                  </a:lnTo>
                  <a:lnTo>
                    <a:pt x="3259" y="1242"/>
                  </a:lnTo>
                  <a:lnTo>
                    <a:pt x="3278" y="1322"/>
                  </a:lnTo>
                  <a:lnTo>
                    <a:pt x="3292" y="1403"/>
                  </a:lnTo>
                  <a:lnTo>
                    <a:pt x="3304" y="1486"/>
                  </a:lnTo>
                  <a:lnTo>
                    <a:pt x="3310" y="1570"/>
                  </a:lnTo>
                  <a:lnTo>
                    <a:pt x="3312" y="1655"/>
                  </a:lnTo>
                  <a:lnTo>
                    <a:pt x="3310" y="1741"/>
                  </a:lnTo>
                  <a:lnTo>
                    <a:pt x="3304" y="1825"/>
                  </a:lnTo>
                  <a:lnTo>
                    <a:pt x="3292" y="1908"/>
                  </a:lnTo>
                  <a:lnTo>
                    <a:pt x="3278" y="1989"/>
                  </a:lnTo>
                  <a:lnTo>
                    <a:pt x="3259" y="2069"/>
                  </a:lnTo>
                  <a:lnTo>
                    <a:pt x="3237" y="2148"/>
                  </a:lnTo>
                  <a:lnTo>
                    <a:pt x="3212" y="2225"/>
                  </a:lnTo>
                  <a:lnTo>
                    <a:pt x="3182" y="2299"/>
                  </a:lnTo>
                  <a:lnTo>
                    <a:pt x="3148" y="2373"/>
                  </a:lnTo>
                  <a:lnTo>
                    <a:pt x="3112" y="2444"/>
                  </a:lnTo>
                  <a:lnTo>
                    <a:pt x="3072" y="2514"/>
                  </a:lnTo>
                  <a:lnTo>
                    <a:pt x="3029" y="2581"/>
                  </a:lnTo>
                  <a:lnTo>
                    <a:pt x="2983" y="2646"/>
                  </a:lnTo>
                  <a:lnTo>
                    <a:pt x="2934" y="2708"/>
                  </a:lnTo>
                  <a:lnTo>
                    <a:pt x="2882" y="2769"/>
                  </a:lnTo>
                  <a:lnTo>
                    <a:pt x="2827" y="2826"/>
                  </a:lnTo>
                  <a:lnTo>
                    <a:pt x="2769" y="2880"/>
                  </a:lnTo>
                  <a:lnTo>
                    <a:pt x="2709" y="2933"/>
                  </a:lnTo>
                  <a:lnTo>
                    <a:pt x="2647" y="2982"/>
                  </a:lnTo>
                  <a:lnTo>
                    <a:pt x="2582" y="3029"/>
                  </a:lnTo>
                  <a:lnTo>
                    <a:pt x="2514" y="3071"/>
                  </a:lnTo>
                  <a:lnTo>
                    <a:pt x="2445" y="3111"/>
                  </a:lnTo>
                  <a:lnTo>
                    <a:pt x="2373" y="3148"/>
                  </a:lnTo>
                  <a:lnTo>
                    <a:pt x="2301" y="3181"/>
                  </a:lnTo>
                  <a:lnTo>
                    <a:pt x="2225" y="3211"/>
                  </a:lnTo>
                  <a:lnTo>
                    <a:pt x="2149" y="3237"/>
                  </a:lnTo>
                  <a:lnTo>
                    <a:pt x="2070" y="3258"/>
                  </a:lnTo>
                  <a:lnTo>
                    <a:pt x="1990" y="3277"/>
                  </a:lnTo>
                  <a:lnTo>
                    <a:pt x="1908" y="3292"/>
                  </a:lnTo>
                  <a:lnTo>
                    <a:pt x="1825" y="3302"/>
                  </a:lnTo>
                  <a:lnTo>
                    <a:pt x="1741" y="3308"/>
                  </a:lnTo>
                  <a:lnTo>
                    <a:pt x="1656" y="3311"/>
                  </a:lnTo>
                  <a:lnTo>
                    <a:pt x="1570" y="3308"/>
                  </a:lnTo>
                  <a:lnTo>
                    <a:pt x="1487" y="3302"/>
                  </a:lnTo>
                  <a:lnTo>
                    <a:pt x="1404" y="3292"/>
                  </a:lnTo>
                  <a:lnTo>
                    <a:pt x="1322" y="3277"/>
                  </a:lnTo>
                  <a:lnTo>
                    <a:pt x="1242" y="3258"/>
                  </a:lnTo>
                  <a:lnTo>
                    <a:pt x="1163" y="3237"/>
                  </a:lnTo>
                  <a:lnTo>
                    <a:pt x="1087" y="3211"/>
                  </a:lnTo>
                  <a:lnTo>
                    <a:pt x="1011" y="3181"/>
                  </a:lnTo>
                  <a:lnTo>
                    <a:pt x="938" y="3148"/>
                  </a:lnTo>
                  <a:lnTo>
                    <a:pt x="867" y="3111"/>
                  </a:lnTo>
                  <a:lnTo>
                    <a:pt x="798" y="3071"/>
                  </a:lnTo>
                  <a:lnTo>
                    <a:pt x="730" y="3029"/>
                  </a:lnTo>
                  <a:lnTo>
                    <a:pt x="665" y="2982"/>
                  </a:lnTo>
                  <a:lnTo>
                    <a:pt x="603" y="2933"/>
                  </a:lnTo>
                  <a:lnTo>
                    <a:pt x="543" y="2880"/>
                  </a:lnTo>
                  <a:lnTo>
                    <a:pt x="485" y="2826"/>
                  </a:lnTo>
                  <a:lnTo>
                    <a:pt x="431" y="2769"/>
                  </a:lnTo>
                  <a:lnTo>
                    <a:pt x="378" y="2708"/>
                  </a:lnTo>
                  <a:lnTo>
                    <a:pt x="329" y="2646"/>
                  </a:lnTo>
                  <a:lnTo>
                    <a:pt x="283" y="2581"/>
                  </a:lnTo>
                  <a:lnTo>
                    <a:pt x="240" y="2514"/>
                  </a:lnTo>
                  <a:lnTo>
                    <a:pt x="200" y="2444"/>
                  </a:lnTo>
                  <a:lnTo>
                    <a:pt x="163" y="2373"/>
                  </a:lnTo>
                  <a:lnTo>
                    <a:pt x="130" y="2299"/>
                  </a:lnTo>
                  <a:lnTo>
                    <a:pt x="100" y="2225"/>
                  </a:lnTo>
                  <a:lnTo>
                    <a:pt x="74" y="2148"/>
                  </a:lnTo>
                  <a:lnTo>
                    <a:pt x="53" y="2069"/>
                  </a:lnTo>
                  <a:lnTo>
                    <a:pt x="34" y="1989"/>
                  </a:lnTo>
                  <a:lnTo>
                    <a:pt x="19" y="1908"/>
                  </a:lnTo>
                  <a:lnTo>
                    <a:pt x="9" y="1825"/>
                  </a:lnTo>
                  <a:lnTo>
                    <a:pt x="2" y="1741"/>
                  </a:lnTo>
                  <a:lnTo>
                    <a:pt x="0" y="1655"/>
                  </a:lnTo>
                  <a:lnTo>
                    <a:pt x="2" y="1570"/>
                  </a:lnTo>
                  <a:lnTo>
                    <a:pt x="9" y="1486"/>
                  </a:lnTo>
                  <a:lnTo>
                    <a:pt x="19" y="1403"/>
                  </a:lnTo>
                  <a:lnTo>
                    <a:pt x="34" y="1322"/>
                  </a:lnTo>
                  <a:lnTo>
                    <a:pt x="53" y="1242"/>
                  </a:lnTo>
                  <a:lnTo>
                    <a:pt x="74" y="1163"/>
                  </a:lnTo>
                  <a:lnTo>
                    <a:pt x="100" y="1087"/>
                  </a:lnTo>
                  <a:lnTo>
                    <a:pt x="130" y="1011"/>
                  </a:lnTo>
                  <a:lnTo>
                    <a:pt x="163" y="937"/>
                  </a:lnTo>
                  <a:lnTo>
                    <a:pt x="200" y="866"/>
                  </a:lnTo>
                  <a:lnTo>
                    <a:pt x="240" y="798"/>
                  </a:lnTo>
                  <a:lnTo>
                    <a:pt x="283" y="730"/>
                  </a:lnTo>
                  <a:lnTo>
                    <a:pt x="329" y="665"/>
                  </a:lnTo>
                  <a:lnTo>
                    <a:pt x="378" y="603"/>
                  </a:lnTo>
                  <a:lnTo>
                    <a:pt x="431" y="543"/>
                  </a:lnTo>
                  <a:lnTo>
                    <a:pt x="485" y="485"/>
                  </a:lnTo>
                  <a:lnTo>
                    <a:pt x="543" y="430"/>
                  </a:lnTo>
                  <a:lnTo>
                    <a:pt x="603" y="378"/>
                  </a:lnTo>
                  <a:lnTo>
                    <a:pt x="665" y="329"/>
                  </a:lnTo>
                  <a:lnTo>
                    <a:pt x="730" y="283"/>
                  </a:lnTo>
                  <a:lnTo>
                    <a:pt x="798" y="239"/>
                  </a:lnTo>
                  <a:lnTo>
                    <a:pt x="867" y="200"/>
                  </a:lnTo>
                  <a:lnTo>
                    <a:pt x="938" y="164"/>
                  </a:lnTo>
                  <a:lnTo>
                    <a:pt x="1011" y="131"/>
                  </a:lnTo>
                  <a:lnTo>
                    <a:pt x="1087" y="100"/>
                  </a:lnTo>
                  <a:lnTo>
                    <a:pt x="1163" y="75"/>
                  </a:lnTo>
                  <a:lnTo>
                    <a:pt x="1242" y="52"/>
                  </a:lnTo>
                  <a:lnTo>
                    <a:pt x="1322" y="33"/>
                  </a:lnTo>
                  <a:lnTo>
                    <a:pt x="1404" y="19"/>
                  </a:lnTo>
                  <a:lnTo>
                    <a:pt x="1487" y="8"/>
                  </a:lnTo>
                  <a:lnTo>
                    <a:pt x="1570" y="2"/>
                  </a:lnTo>
                  <a:lnTo>
                    <a:pt x="16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2427" y="1310"/>
              <a:ext cx="496" cy="444"/>
            </a:xfrm>
            <a:custGeom>
              <a:avLst/>
              <a:gdLst>
                <a:gd name="T0" fmla="*/ 130 w 2979"/>
                <a:gd name="T1" fmla="*/ 153 h 2665"/>
                <a:gd name="T2" fmla="*/ 184 w 2979"/>
                <a:gd name="T3" fmla="*/ 105 h 2665"/>
                <a:gd name="T4" fmla="*/ 244 w 2979"/>
                <a:gd name="T5" fmla="*/ 64 h 2665"/>
                <a:gd name="T6" fmla="*/ 308 w 2979"/>
                <a:gd name="T7" fmla="*/ 34 h 2665"/>
                <a:gd name="T8" fmla="*/ 375 w 2979"/>
                <a:gd name="T9" fmla="*/ 13 h 2665"/>
                <a:gd name="T10" fmla="*/ 444 w 2979"/>
                <a:gd name="T11" fmla="*/ 2 h 2665"/>
                <a:gd name="T12" fmla="*/ 514 w 2979"/>
                <a:gd name="T13" fmla="*/ 1 h 2665"/>
                <a:gd name="T14" fmla="*/ 584 w 2979"/>
                <a:gd name="T15" fmla="*/ 10 h 2665"/>
                <a:gd name="T16" fmla="*/ 653 w 2979"/>
                <a:gd name="T17" fmla="*/ 30 h 2665"/>
                <a:gd name="T18" fmla="*/ 718 w 2979"/>
                <a:gd name="T19" fmla="*/ 59 h 2665"/>
                <a:gd name="T20" fmla="*/ 779 w 2979"/>
                <a:gd name="T21" fmla="*/ 98 h 2665"/>
                <a:gd name="T22" fmla="*/ 2825 w 2979"/>
                <a:gd name="T23" fmla="*/ 1825 h 2665"/>
                <a:gd name="T24" fmla="*/ 2875 w 2979"/>
                <a:gd name="T25" fmla="*/ 1879 h 2665"/>
                <a:gd name="T26" fmla="*/ 2915 w 2979"/>
                <a:gd name="T27" fmla="*/ 1939 h 2665"/>
                <a:gd name="T28" fmla="*/ 2945 w 2979"/>
                <a:gd name="T29" fmla="*/ 2003 h 2665"/>
                <a:gd name="T30" fmla="*/ 2966 w 2979"/>
                <a:gd name="T31" fmla="*/ 2069 h 2665"/>
                <a:gd name="T32" fmla="*/ 2977 w 2979"/>
                <a:gd name="T33" fmla="*/ 2139 h 2665"/>
                <a:gd name="T34" fmla="*/ 2977 w 2979"/>
                <a:gd name="T35" fmla="*/ 2209 h 2665"/>
                <a:gd name="T36" fmla="*/ 2969 w 2979"/>
                <a:gd name="T37" fmla="*/ 2279 h 2665"/>
                <a:gd name="T38" fmla="*/ 2949 w 2979"/>
                <a:gd name="T39" fmla="*/ 2347 h 2665"/>
                <a:gd name="T40" fmla="*/ 2920 w 2979"/>
                <a:gd name="T41" fmla="*/ 2412 h 2665"/>
                <a:gd name="T42" fmla="*/ 2880 w 2979"/>
                <a:gd name="T43" fmla="*/ 2473 h 2665"/>
                <a:gd name="T44" fmla="*/ 2848 w 2979"/>
                <a:gd name="T45" fmla="*/ 2512 h 2665"/>
                <a:gd name="T46" fmla="*/ 2794 w 2979"/>
                <a:gd name="T47" fmla="*/ 2561 h 2665"/>
                <a:gd name="T48" fmla="*/ 2735 w 2979"/>
                <a:gd name="T49" fmla="*/ 2602 h 2665"/>
                <a:gd name="T50" fmla="*/ 2671 w 2979"/>
                <a:gd name="T51" fmla="*/ 2632 h 2665"/>
                <a:gd name="T52" fmla="*/ 2603 w 2979"/>
                <a:gd name="T53" fmla="*/ 2653 h 2665"/>
                <a:gd name="T54" fmla="*/ 2534 w 2979"/>
                <a:gd name="T55" fmla="*/ 2663 h 2665"/>
                <a:gd name="T56" fmla="*/ 2465 w 2979"/>
                <a:gd name="T57" fmla="*/ 2664 h 2665"/>
                <a:gd name="T58" fmla="*/ 2394 w 2979"/>
                <a:gd name="T59" fmla="*/ 2656 h 2665"/>
                <a:gd name="T60" fmla="*/ 2327 w 2979"/>
                <a:gd name="T61" fmla="*/ 2636 h 2665"/>
                <a:gd name="T62" fmla="*/ 2261 w 2979"/>
                <a:gd name="T63" fmla="*/ 2607 h 2665"/>
                <a:gd name="T64" fmla="*/ 2199 w 2979"/>
                <a:gd name="T65" fmla="*/ 2567 h 2665"/>
                <a:gd name="T66" fmla="*/ 153 w 2979"/>
                <a:gd name="T67" fmla="*/ 840 h 2665"/>
                <a:gd name="T68" fmla="*/ 103 w 2979"/>
                <a:gd name="T69" fmla="*/ 786 h 2665"/>
                <a:gd name="T70" fmla="*/ 63 w 2979"/>
                <a:gd name="T71" fmla="*/ 727 h 2665"/>
                <a:gd name="T72" fmla="*/ 33 w 2979"/>
                <a:gd name="T73" fmla="*/ 663 h 2665"/>
                <a:gd name="T74" fmla="*/ 12 w 2979"/>
                <a:gd name="T75" fmla="*/ 596 h 2665"/>
                <a:gd name="T76" fmla="*/ 2 w 2979"/>
                <a:gd name="T77" fmla="*/ 526 h 2665"/>
                <a:gd name="T78" fmla="*/ 1 w 2979"/>
                <a:gd name="T79" fmla="*/ 457 h 2665"/>
                <a:gd name="T80" fmla="*/ 9 w 2979"/>
                <a:gd name="T81" fmla="*/ 387 h 2665"/>
                <a:gd name="T82" fmla="*/ 29 w 2979"/>
                <a:gd name="T83" fmla="*/ 319 h 2665"/>
                <a:gd name="T84" fmla="*/ 58 w 2979"/>
                <a:gd name="T85" fmla="*/ 254 h 2665"/>
                <a:gd name="T86" fmla="*/ 98 w 2979"/>
                <a:gd name="T87" fmla="*/ 192 h 2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79" h="2665">
                  <a:moveTo>
                    <a:pt x="114" y="172"/>
                  </a:moveTo>
                  <a:lnTo>
                    <a:pt x="114" y="172"/>
                  </a:lnTo>
                  <a:lnTo>
                    <a:pt x="130" y="153"/>
                  </a:lnTo>
                  <a:lnTo>
                    <a:pt x="148" y="136"/>
                  </a:lnTo>
                  <a:lnTo>
                    <a:pt x="166" y="119"/>
                  </a:lnTo>
                  <a:lnTo>
                    <a:pt x="184" y="105"/>
                  </a:lnTo>
                  <a:lnTo>
                    <a:pt x="204" y="90"/>
                  </a:lnTo>
                  <a:lnTo>
                    <a:pt x="224" y="77"/>
                  </a:lnTo>
                  <a:lnTo>
                    <a:pt x="244" y="64"/>
                  </a:lnTo>
                  <a:lnTo>
                    <a:pt x="265" y="53"/>
                  </a:lnTo>
                  <a:lnTo>
                    <a:pt x="286" y="42"/>
                  </a:lnTo>
                  <a:lnTo>
                    <a:pt x="308" y="34"/>
                  </a:lnTo>
                  <a:lnTo>
                    <a:pt x="330" y="26"/>
                  </a:lnTo>
                  <a:lnTo>
                    <a:pt x="352" y="19"/>
                  </a:lnTo>
                  <a:lnTo>
                    <a:pt x="375" y="13"/>
                  </a:lnTo>
                  <a:lnTo>
                    <a:pt x="398" y="8"/>
                  </a:lnTo>
                  <a:lnTo>
                    <a:pt x="420" y="4"/>
                  </a:lnTo>
                  <a:lnTo>
                    <a:pt x="444" y="2"/>
                  </a:lnTo>
                  <a:lnTo>
                    <a:pt x="467" y="1"/>
                  </a:lnTo>
                  <a:lnTo>
                    <a:pt x="491" y="0"/>
                  </a:lnTo>
                  <a:lnTo>
                    <a:pt x="514" y="1"/>
                  </a:lnTo>
                  <a:lnTo>
                    <a:pt x="538" y="3"/>
                  </a:lnTo>
                  <a:lnTo>
                    <a:pt x="560" y="6"/>
                  </a:lnTo>
                  <a:lnTo>
                    <a:pt x="584" y="10"/>
                  </a:lnTo>
                  <a:lnTo>
                    <a:pt x="607" y="16"/>
                  </a:lnTo>
                  <a:lnTo>
                    <a:pt x="630" y="22"/>
                  </a:lnTo>
                  <a:lnTo>
                    <a:pt x="653" y="30"/>
                  </a:lnTo>
                  <a:lnTo>
                    <a:pt x="674" y="38"/>
                  </a:lnTo>
                  <a:lnTo>
                    <a:pt x="696" y="48"/>
                  </a:lnTo>
                  <a:lnTo>
                    <a:pt x="718" y="59"/>
                  </a:lnTo>
                  <a:lnTo>
                    <a:pt x="739" y="71"/>
                  </a:lnTo>
                  <a:lnTo>
                    <a:pt x="759" y="84"/>
                  </a:lnTo>
                  <a:lnTo>
                    <a:pt x="779" y="98"/>
                  </a:lnTo>
                  <a:lnTo>
                    <a:pt x="799" y="114"/>
                  </a:lnTo>
                  <a:lnTo>
                    <a:pt x="2807" y="1808"/>
                  </a:lnTo>
                  <a:lnTo>
                    <a:pt x="2825" y="1825"/>
                  </a:lnTo>
                  <a:lnTo>
                    <a:pt x="2843" y="1843"/>
                  </a:lnTo>
                  <a:lnTo>
                    <a:pt x="2859" y="1860"/>
                  </a:lnTo>
                  <a:lnTo>
                    <a:pt x="2875" y="1879"/>
                  </a:lnTo>
                  <a:lnTo>
                    <a:pt x="2889" y="1899"/>
                  </a:lnTo>
                  <a:lnTo>
                    <a:pt x="2903" y="1918"/>
                  </a:lnTo>
                  <a:lnTo>
                    <a:pt x="2915" y="1939"/>
                  </a:lnTo>
                  <a:lnTo>
                    <a:pt x="2927" y="1960"/>
                  </a:lnTo>
                  <a:lnTo>
                    <a:pt x="2936" y="1981"/>
                  </a:lnTo>
                  <a:lnTo>
                    <a:pt x="2945" y="2003"/>
                  </a:lnTo>
                  <a:lnTo>
                    <a:pt x="2954" y="2025"/>
                  </a:lnTo>
                  <a:lnTo>
                    <a:pt x="2960" y="2047"/>
                  </a:lnTo>
                  <a:lnTo>
                    <a:pt x="2966" y="2069"/>
                  </a:lnTo>
                  <a:lnTo>
                    <a:pt x="2971" y="2092"/>
                  </a:lnTo>
                  <a:lnTo>
                    <a:pt x="2974" y="2116"/>
                  </a:lnTo>
                  <a:lnTo>
                    <a:pt x="2977" y="2139"/>
                  </a:lnTo>
                  <a:lnTo>
                    <a:pt x="2979" y="2163"/>
                  </a:lnTo>
                  <a:lnTo>
                    <a:pt x="2979" y="2185"/>
                  </a:lnTo>
                  <a:lnTo>
                    <a:pt x="2977" y="2209"/>
                  </a:lnTo>
                  <a:lnTo>
                    <a:pt x="2976" y="2232"/>
                  </a:lnTo>
                  <a:lnTo>
                    <a:pt x="2973" y="2256"/>
                  </a:lnTo>
                  <a:lnTo>
                    <a:pt x="2969" y="2279"/>
                  </a:lnTo>
                  <a:lnTo>
                    <a:pt x="2964" y="2301"/>
                  </a:lnTo>
                  <a:lnTo>
                    <a:pt x="2957" y="2324"/>
                  </a:lnTo>
                  <a:lnTo>
                    <a:pt x="2949" y="2347"/>
                  </a:lnTo>
                  <a:lnTo>
                    <a:pt x="2941" y="2369"/>
                  </a:lnTo>
                  <a:lnTo>
                    <a:pt x="2931" y="2391"/>
                  </a:lnTo>
                  <a:lnTo>
                    <a:pt x="2920" y="2412"/>
                  </a:lnTo>
                  <a:lnTo>
                    <a:pt x="2908" y="2433"/>
                  </a:lnTo>
                  <a:lnTo>
                    <a:pt x="2895" y="2454"/>
                  </a:lnTo>
                  <a:lnTo>
                    <a:pt x="2880" y="2473"/>
                  </a:lnTo>
                  <a:lnTo>
                    <a:pt x="2865" y="2493"/>
                  </a:lnTo>
                  <a:lnTo>
                    <a:pt x="2865" y="2493"/>
                  </a:lnTo>
                  <a:lnTo>
                    <a:pt x="2848" y="2512"/>
                  </a:lnTo>
                  <a:lnTo>
                    <a:pt x="2831" y="2529"/>
                  </a:lnTo>
                  <a:lnTo>
                    <a:pt x="2813" y="2546"/>
                  </a:lnTo>
                  <a:lnTo>
                    <a:pt x="2794" y="2561"/>
                  </a:lnTo>
                  <a:lnTo>
                    <a:pt x="2774" y="2576"/>
                  </a:lnTo>
                  <a:lnTo>
                    <a:pt x="2755" y="2589"/>
                  </a:lnTo>
                  <a:lnTo>
                    <a:pt x="2735" y="2602"/>
                  </a:lnTo>
                  <a:lnTo>
                    <a:pt x="2713" y="2613"/>
                  </a:lnTo>
                  <a:lnTo>
                    <a:pt x="2693" y="2623"/>
                  </a:lnTo>
                  <a:lnTo>
                    <a:pt x="2671" y="2632"/>
                  </a:lnTo>
                  <a:lnTo>
                    <a:pt x="2649" y="2640"/>
                  </a:lnTo>
                  <a:lnTo>
                    <a:pt x="2626" y="2646"/>
                  </a:lnTo>
                  <a:lnTo>
                    <a:pt x="2603" y="2653"/>
                  </a:lnTo>
                  <a:lnTo>
                    <a:pt x="2581" y="2658"/>
                  </a:lnTo>
                  <a:lnTo>
                    <a:pt x="2558" y="2661"/>
                  </a:lnTo>
                  <a:lnTo>
                    <a:pt x="2534" y="2663"/>
                  </a:lnTo>
                  <a:lnTo>
                    <a:pt x="2511" y="2665"/>
                  </a:lnTo>
                  <a:lnTo>
                    <a:pt x="2487" y="2665"/>
                  </a:lnTo>
                  <a:lnTo>
                    <a:pt x="2465" y="2664"/>
                  </a:lnTo>
                  <a:lnTo>
                    <a:pt x="2441" y="2663"/>
                  </a:lnTo>
                  <a:lnTo>
                    <a:pt x="2418" y="2660"/>
                  </a:lnTo>
                  <a:lnTo>
                    <a:pt x="2394" y="2656"/>
                  </a:lnTo>
                  <a:lnTo>
                    <a:pt x="2371" y="2651"/>
                  </a:lnTo>
                  <a:lnTo>
                    <a:pt x="2349" y="2643"/>
                  </a:lnTo>
                  <a:lnTo>
                    <a:pt x="2327" y="2636"/>
                  </a:lnTo>
                  <a:lnTo>
                    <a:pt x="2304" y="2628"/>
                  </a:lnTo>
                  <a:lnTo>
                    <a:pt x="2282" y="2617"/>
                  </a:lnTo>
                  <a:lnTo>
                    <a:pt x="2261" y="2607"/>
                  </a:lnTo>
                  <a:lnTo>
                    <a:pt x="2240" y="2595"/>
                  </a:lnTo>
                  <a:lnTo>
                    <a:pt x="2219" y="2581"/>
                  </a:lnTo>
                  <a:lnTo>
                    <a:pt x="2199" y="2567"/>
                  </a:lnTo>
                  <a:lnTo>
                    <a:pt x="2180" y="2551"/>
                  </a:lnTo>
                  <a:lnTo>
                    <a:pt x="172" y="857"/>
                  </a:lnTo>
                  <a:lnTo>
                    <a:pt x="153" y="840"/>
                  </a:lnTo>
                  <a:lnTo>
                    <a:pt x="136" y="823"/>
                  </a:lnTo>
                  <a:lnTo>
                    <a:pt x="119" y="805"/>
                  </a:lnTo>
                  <a:lnTo>
                    <a:pt x="103" y="786"/>
                  </a:lnTo>
                  <a:lnTo>
                    <a:pt x="89" y="768"/>
                  </a:lnTo>
                  <a:lnTo>
                    <a:pt x="75" y="747"/>
                  </a:lnTo>
                  <a:lnTo>
                    <a:pt x="63" y="727"/>
                  </a:lnTo>
                  <a:lnTo>
                    <a:pt x="53" y="706"/>
                  </a:lnTo>
                  <a:lnTo>
                    <a:pt x="42" y="685"/>
                  </a:lnTo>
                  <a:lnTo>
                    <a:pt x="33" y="663"/>
                  </a:lnTo>
                  <a:lnTo>
                    <a:pt x="25" y="641"/>
                  </a:lnTo>
                  <a:lnTo>
                    <a:pt x="18" y="618"/>
                  </a:lnTo>
                  <a:lnTo>
                    <a:pt x="12" y="596"/>
                  </a:lnTo>
                  <a:lnTo>
                    <a:pt x="8" y="573"/>
                  </a:lnTo>
                  <a:lnTo>
                    <a:pt x="4" y="550"/>
                  </a:lnTo>
                  <a:lnTo>
                    <a:pt x="2" y="526"/>
                  </a:lnTo>
                  <a:lnTo>
                    <a:pt x="0" y="503"/>
                  </a:lnTo>
                  <a:lnTo>
                    <a:pt x="0" y="480"/>
                  </a:lnTo>
                  <a:lnTo>
                    <a:pt x="1" y="457"/>
                  </a:lnTo>
                  <a:lnTo>
                    <a:pt x="3" y="433"/>
                  </a:lnTo>
                  <a:lnTo>
                    <a:pt x="5" y="410"/>
                  </a:lnTo>
                  <a:lnTo>
                    <a:pt x="9" y="387"/>
                  </a:lnTo>
                  <a:lnTo>
                    <a:pt x="15" y="364"/>
                  </a:lnTo>
                  <a:lnTo>
                    <a:pt x="22" y="341"/>
                  </a:lnTo>
                  <a:lnTo>
                    <a:pt x="29" y="319"/>
                  </a:lnTo>
                  <a:lnTo>
                    <a:pt x="37" y="296"/>
                  </a:lnTo>
                  <a:lnTo>
                    <a:pt x="47" y="275"/>
                  </a:lnTo>
                  <a:lnTo>
                    <a:pt x="58" y="254"/>
                  </a:lnTo>
                  <a:lnTo>
                    <a:pt x="70" y="232"/>
                  </a:lnTo>
                  <a:lnTo>
                    <a:pt x="84" y="211"/>
                  </a:lnTo>
                  <a:lnTo>
                    <a:pt x="98" y="192"/>
                  </a:lnTo>
                  <a:lnTo>
                    <a:pt x="11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2781" y="1326"/>
              <a:ext cx="498" cy="444"/>
            </a:xfrm>
            <a:custGeom>
              <a:avLst/>
              <a:gdLst>
                <a:gd name="T0" fmla="*/ 2885 w 2983"/>
                <a:gd name="T1" fmla="*/ 193 h 2660"/>
                <a:gd name="T2" fmla="*/ 2925 w 2983"/>
                <a:gd name="T3" fmla="*/ 255 h 2660"/>
                <a:gd name="T4" fmla="*/ 2954 w 2983"/>
                <a:gd name="T5" fmla="*/ 320 h 2660"/>
                <a:gd name="T6" fmla="*/ 2973 w 2983"/>
                <a:gd name="T7" fmla="*/ 389 h 2660"/>
                <a:gd name="T8" fmla="*/ 2982 w 2983"/>
                <a:gd name="T9" fmla="*/ 458 h 2660"/>
                <a:gd name="T10" fmla="*/ 2981 w 2983"/>
                <a:gd name="T11" fmla="*/ 529 h 2660"/>
                <a:gd name="T12" fmla="*/ 2970 w 2983"/>
                <a:gd name="T13" fmla="*/ 597 h 2660"/>
                <a:gd name="T14" fmla="*/ 2950 w 2983"/>
                <a:gd name="T15" fmla="*/ 664 h 2660"/>
                <a:gd name="T16" fmla="*/ 2919 w 2983"/>
                <a:gd name="T17" fmla="*/ 729 h 2660"/>
                <a:gd name="T18" fmla="*/ 2878 w 2983"/>
                <a:gd name="T19" fmla="*/ 788 h 2660"/>
                <a:gd name="T20" fmla="*/ 2828 w 2983"/>
                <a:gd name="T21" fmla="*/ 841 h 2660"/>
                <a:gd name="T22" fmla="*/ 778 w 2983"/>
                <a:gd name="T23" fmla="*/ 2563 h 2660"/>
                <a:gd name="T24" fmla="*/ 716 w 2983"/>
                <a:gd name="T25" fmla="*/ 2602 h 2660"/>
                <a:gd name="T26" fmla="*/ 651 w 2983"/>
                <a:gd name="T27" fmla="*/ 2631 h 2660"/>
                <a:gd name="T28" fmla="*/ 582 w 2983"/>
                <a:gd name="T29" fmla="*/ 2651 h 2660"/>
                <a:gd name="T30" fmla="*/ 513 w 2983"/>
                <a:gd name="T31" fmla="*/ 2659 h 2660"/>
                <a:gd name="T32" fmla="*/ 442 w 2983"/>
                <a:gd name="T33" fmla="*/ 2658 h 2660"/>
                <a:gd name="T34" fmla="*/ 374 w 2983"/>
                <a:gd name="T35" fmla="*/ 2648 h 2660"/>
                <a:gd name="T36" fmla="*/ 307 w 2983"/>
                <a:gd name="T37" fmla="*/ 2627 h 2660"/>
                <a:gd name="T38" fmla="*/ 242 w 2983"/>
                <a:gd name="T39" fmla="*/ 2596 h 2660"/>
                <a:gd name="T40" fmla="*/ 183 w 2983"/>
                <a:gd name="T41" fmla="*/ 2556 h 2660"/>
                <a:gd name="T42" fmla="*/ 129 w 2983"/>
                <a:gd name="T43" fmla="*/ 2506 h 2660"/>
                <a:gd name="T44" fmla="*/ 97 w 2983"/>
                <a:gd name="T45" fmla="*/ 2468 h 2660"/>
                <a:gd name="T46" fmla="*/ 58 w 2983"/>
                <a:gd name="T47" fmla="*/ 2406 h 2660"/>
                <a:gd name="T48" fmla="*/ 28 w 2983"/>
                <a:gd name="T49" fmla="*/ 2341 h 2660"/>
                <a:gd name="T50" fmla="*/ 9 w 2983"/>
                <a:gd name="T51" fmla="*/ 2273 h 2660"/>
                <a:gd name="T52" fmla="*/ 0 w 2983"/>
                <a:gd name="T53" fmla="*/ 2203 h 2660"/>
                <a:gd name="T54" fmla="*/ 1 w 2983"/>
                <a:gd name="T55" fmla="*/ 2133 h 2660"/>
                <a:gd name="T56" fmla="*/ 12 w 2983"/>
                <a:gd name="T57" fmla="*/ 2064 h 2660"/>
                <a:gd name="T58" fmla="*/ 33 w 2983"/>
                <a:gd name="T59" fmla="*/ 1996 h 2660"/>
                <a:gd name="T60" fmla="*/ 64 w 2983"/>
                <a:gd name="T61" fmla="*/ 1933 h 2660"/>
                <a:gd name="T62" fmla="*/ 104 w 2983"/>
                <a:gd name="T63" fmla="*/ 1873 h 2660"/>
                <a:gd name="T64" fmla="*/ 153 w 2983"/>
                <a:gd name="T65" fmla="*/ 1819 h 2660"/>
                <a:gd name="T66" fmla="*/ 2205 w 2983"/>
                <a:gd name="T67" fmla="*/ 99 h 2660"/>
                <a:gd name="T68" fmla="*/ 2266 w 2983"/>
                <a:gd name="T69" fmla="*/ 58 h 2660"/>
                <a:gd name="T70" fmla="*/ 2332 w 2983"/>
                <a:gd name="T71" fmla="*/ 29 h 2660"/>
                <a:gd name="T72" fmla="*/ 2399 w 2983"/>
                <a:gd name="T73" fmla="*/ 11 h 2660"/>
                <a:gd name="T74" fmla="*/ 2470 w 2983"/>
                <a:gd name="T75" fmla="*/ 1 h 2660"/>
                <a:gd name="T76" fmla="*/ 2539 w 2983"/>
                <a:gd name="T77" fmla="*/ 2 h 2660"/>
                <a:gd name="T78" fmla="*/ 2609 w 2983"/>
                <a:gd name="T79" fmla="*/ 14 h 2660"/>
                <a:gd name="T80" fmla="*/ 2676 w 2983"/>
                <a:gd name="T81" fmla="*/ 35 h 2660"/>
                <a:gd name="T82" fmla="*/ 2740 w 2983"/>
                <a:gd name="T83" fmla="*/ 66 h 2660"/>
                <a:gd name="T84" fmla="*/ 2799 w 2983"/>
                <a:gd name="T85" fmla="*/ 105 h 2660"/>
                <a:gd name="T86" fmla="*/ 2853 w 2983"/>
                <a:gd name="T87" fmla="*/ 155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83" h="2660">
                  <a:moveTo>
                    <a:pt x="2870" y="173"/>
                  </a:moveTo>
                  <a:lnTo>
                    <a:pt x="2870" y="173"/>
                  </a:lnTo>
                  <a:lnTo>
                    <a:pt x="2885" y="193"/>
                  </a:lnTo>
                  <a:lnTo>
                    <a:pt x="2900" y="214"/>
                  </a:lnTo>
                  <a:lnTo>
                    <a:pt x="2913" y="233"/>
                  </a:lnTo>
                  <a:lnTo>
                    <a:pt x="2925" y="255"/>
                  </a:lnTo>
                  <a:lnTo>
                    <a:pt x="2936" y="276"/>
                  </a:lnTo>
                  <a:lnTo>
                    <a:pt x="2945" y="299"/>
                  </a:lnTo>
                  <a:lnTo>
                    <a:pt x="2954" y="320"/>
                  </a:lnTo>
                  <a:lnTo>
                    <a:pt x="2962" y="343"/>
                  </a:lnTo>
                  <a:lnTo>
                    <a:pt x="2968" y="366"/>
                  </a:lnTo>
                  <a:lnTo>
                    <a:pt x="2973" y="389"/>
                  </a:lnTo>
                  <a:lnTo>
                    <a:pt x="2978" y="412"/>
                  </a:lnTo>
                  <a:lnTo>
                    <a:pt x="2981" y="435"/>
                  </a:lnTo>
                  <a:lnTo>
                    <a:pt x="2982" y="458"/>
                  </a:lnTo>
                  <a:lnTo>
                    <a:pt x="2983" y="482"/>
                  </a:lnTo>
                  <a:lnTo>
                    <a:pt x="2983" y="505"/>
                  </a:lnTo>
                  <a:lnTo>
                    <a:pt x="2981" y="529"/>
                  </a:lnTo>
                  <a:lnTo>
                    <a:pt x="2979" y="551"/>
                  </a:lnTo>
                  <a:lnTo>
                    <a:pt x="2975" y="574"/>
                  </a:lnTo>
                  <a:lnTo>
                    <a:pt x="2970" y="597"/>
                  </a:lnTo>
                  <a:lnTo>
                    <a:pt x="2964" y="620"/>
                  </a:lnTo>
                  <a:lnTo>
                    <a:pt x="2957" y="643"/>
                  </a:lnTo>
                  <a:lnTo>
                    <a:pt x="2950" y="664"/>
                  </a:lnTo>
                  <a:lnTo>
                    <a:pt x="2940" y="686"/>
                  </a:lnTo>
                  <a:lnTo>
                    <a:pt x="2930" y="708"/>
                  </a:lnTo>
                  <a:lnTo>
                    <a:pt x="2919" y="729"/>
                  </a:lnTo>
                  <a:lnTo>
                    <a:pt x="2906" y="749"/>
                  </a:lnTo>
                  <a:lnTo>
                    <a:pt x="2893" y="769"/>
                  </a:lnTo>
                  <a:lnTo>
                    <a:pt x="2878" y="788"/>
                  </a:lnTo>
                  <a:lnTo>
                    <a:pt x="2863" y="806"/>
                  </a:lnTo>
                  <a:lnTo>
                    <a:pt x="2846" y="825"/>
                  </a:lnTo>
                  <a:lnTo>
                    <a:pt x="2828" y="841"/>
                  </a:lnTo>
                  <a:lnTo>
                    <a:pt x="2810" y="858"/>
                  </a:lnTo>
                  <a:lnTo>
                    <a:pt x="798" y="2547"/>
                  </a:lnTo>
                  <a:lnTo>
                    <a:pt x="778" y="2563"/>
                  </a:lnTo>
                  <a:lnTo>
                    <a:pt x="757" y="2577"/>
                  </a:lnTo>
                  <a:lnTo>
                    <a:pt x="738" y="2591"/>
                  </a:lnTo>
                  <a:lnTo>
                    <a:pt x="716" y="2602"/>
                  </a:lnTo>
                  <a:lnTo>
                    <a:pt x="695" y="2614"/>
                  </a:lnTo>
                  <a:lnTo>
                    <a:pt x="672" y="2623"/>
                  </a:lnTo>
                  <a:lnTo>
                    <a:pt x="651" y="2631"/>
                  </a:lnTo>
                  <a:lnTo>
                    <a:pt x="628" y="2639"/>
                  </a:lnTo>
                  <a:lnTo>
                    <a:pt x="605" y="2646"/>
                  </a:lnTo>
                  <a:lnTo>
                    <a:pt x="582" y="2651"/>
                  </a:lnTo>
                  <a:lnTo>
                    <a:pt x="559" y="2655"/>
                  </a:lnTo>
                  <a:lnTo>
                    <a:pt x="536" y="2658"/>
                  </a:lnTo>
                  <a:lnTo>
                    <a:pt x="513" y="2659"/>
                  </a:lnTo>
                  <a:lnTo>
                    <a:pt x="489" y="2660"/>
                  </a:lnTo>
                  <a:lnTo>
                    <a:pt x="466" y="2660"/>
                  </a:lnTo>
                  <a:lnTo>
                    <a:pt x="442" y="2658"/>
                  </a:lnTo>
                  <a:lnTo>
                    <a:pt x="420" y="2656"/>
                  </a:lnTo>
                  <a:lnTo>
                    <a:pt x="397" y="2652"/>
                  </a:lnTo>
                  <a:lnTo>
                    <a:pt x="374" y="2648"/>
                  </a:lnTo>
                  <a:lnTo>
                    <a:pt x="351" y="2642"/>
                  </a:lnTo>
                  <a:lnTo>
                    <a:pt x="328" y="2634"/>
                  </a:lnTo>
                  <a:lnTo>
                    <a:pt x="307" y="2627"/>
                  </a:lnTo>
                  <a:lnTo>
                    <a:pt x="285" y="2618"/>
                  </a:lnTo>
                  <a:lnTo>
                    <a:pt x="263" y="2607"/>
                  </a:lnTo>
                  <a:lnTo>
                    <a:pt x="242" y="2596"/>
                  </a:lnTo>
                  <a:lnTo>
                    <a:pt x="222" y="2584"/>
                  </a:lnTo>
                  <a:lnTo>
                    <a:pt x="202" y="2570"/>
                  </a:lnTo>
                  <a:lnTo>
                    <a:pt x="183" y="2556"/>
                  </a:lnTo>
                  <a:lnTo>
                    <a:pt x="165" y="2540"/>
                  </a:lnTo>
                  <a:lnTo>
                    <a:pt x="146" y="2523"/>
                  </a:lnTo>
                  <a:lnTo>
                    <a:pt x="129" y="2506"/>
                  </a:lnTo>
                  <a:lnTo>
                    <a:pt x="113" y="2487"/>
                  </a:lnTo>
                  <a:lnTo>
                    <a:pt x="113" y="2487"/>
                  </a:lnTo>
                  <a:lnTo>
                    <a:pt x="97" y="2468"/>
                  </a:lnTo>
                  <a:lnTo>
                    <a:pt x="83" y="2448"/>
                  </a:lnTo>
                  <a:lnTo>
                    <a:pt x="69" y="2427"/>
                  </a:lnTo>
                  <a:lnTo>
                    <a:pt x="58" y="2406"/>
                  </a:lnTo>
                  <a:lnTo>
                    <a:pt x="47" y="2385"/>
                  </a:lnTo>
                  <a:lnTo>
                    <a:pt x="37" y="2363"/>
                  </a:lnTo>
                  <a:lnTo>
                    <a:pt x="28" y="2341"/>
                  </a:lnTo>
                  <a:lnTo>
                    <a:pt x="21" y="2318"/>
                  </a:lnTo>
                  <a:lnTo>
                    <a:pt x="14" y="2296"/>
                  </a:lnTo>
                  <a:lnTo>
                    <a:pt x="9" y="2273"/>
                  </a:lnTo>
                  <a:lnTo>
                    <a:pt x="5" y="2249"/>
                  </a:lnTo>
                  <a:lnTo>
                    <a:pt x="2" y="2226"/>
                  </a:lnTo>
                  <a:lnTo>
                    <a:pt x="0" y="2203"/>
                  </a:lnTo>
                  <a:lnTo>
                    <a:pt x="0" y="2180"/>
                  </a:lnTo>
                  <a:lnTo>
                    <a:pt x="0" y="2156"/>
                  </a:lnTo>
                  <a:lnTo>
                    <a:pt x="1" y="2133"/>
                  </a:lnTo>
                  <a:lnTo>
                    <a:pt x="4" y="2110"/>
                  </a:lnTo>
                  <a:lnTo>
                    <a:pt x="7" y="2086"/>
                  </a:lnTo>
                  <a:lnTo>
                    <a:pt x="12" y="2064"/>
                  </a:lnTo>
                  <a:lnTo>
                    <a:pt x="19" y="2041"/>
                  </a:lnTo>
                  <a:lnTo>
                    <a:pt x="25" y="2019"/>
                  </a:lnTo>
                  <a:lnTo>
                    <a:pt x="33" y="1996"/>
                  </a:lnTo>
                  <a:lnTo>
                    <a:pt x="42" y="1975"/>
                  </a:lnTo>
                  <a:lnTo>
                    <a:pt x="53" y="1954"/>
                  </a:lnTo>
                  <a:lnTo>
                    <a:pt x="64" y="1933"/>
                  </a:lnTo>
                  <a:lnTo>
                    <a:pt x="77" y="1912"/>
                  </a:lnTo>
                  <a:lnTo>
                    <a:pt x="89" y="1893"/>
                  </a:lnTo>
                  <a:lnTo>
                    <a:pt x="104" y="1873"/>
                  </a:lnTo>
                  <a:lnTo>
                    <a:pt x="119" y="1854"/>
                  </a:lnTo>
                  <a:lnTo>
                    <a:pt x="136" y="1837"/>
                  </a:lnTo>
                  <a:lnTo>
                    <a:pt x="153" y="1819"/>
                  </a:lnTo>
                  <a:lnTo>
                    <a:pt x="172" y="1803"/>
                  </a:lnTo>
                  <a:lnTo>
                    <a:pt x="2185" y="114"/>
                  </a:lnTo>
                  <a:lnTo>
                    <a:pt x="2205" y="99"/>
                  </a:lnTo>
                  <a:lnTo>
                    <a:pt x="2224" y="84"/>
                  </a:lnTo>
                  <a:lnTo>
                    <a:pt x="2245" y="71"/>
                  </a:lnTo>
                  <a:lnTo>
                    <a:pt x="2266" y="58"/>
                  </a:lnTo>
                  <a:lnTo>
                    <a:pt x="2288" y="48"/>
                  </a:lnTo>
                  <a:lnTo>
                    <a:pt x="2309" y="38"/>
                  </a:lnTo>
                  <a:lnTo>
                    <a:pt x="2332" y="29"/>
                  </a:lnTo>
                  <a:lnTo>
                    <a:pt x="2354" y="22"/>
                  </a:lnTo>
                  <a:lnTo>
                    <a:pt x="2377" y="16"/>
                  </a:lnTo>
                  <a:lnTo>
                    <a:pt x="2399" y="11"/>
                  </a:lnTo>
                  <a:lnTo>
                    <a:pt x="2423" y="7"/>
                  </a:lnTo>
                  <a:lnTo>
                    <a:pt x="2446" y="4"/>
                  </a:lnTo>
                  <a:lnTo>
                    <a:pt x="2470" y="1"/>
                  </a:lnTo>
                  <a:lnTo>
                    <a:pt x="2493" y="0"/>
                  </a:lnTo>
                  <a:lnTo>
                    <a:pt x="2517" y="1"/>
                  </a:lnTo>
                  <a:lnTo>
                    <a:pt x="2539" y="2"/>
                  </a:lnTo>
                  <a:lnTo>
                    <a:pt x="2563" y="6"/>
                  </a:lnTo>
                  <a:lnTo>
                    <a:pt x="2586" y="9"/>
                  </a:lnTo>
                  <a:lnTo>
                    <a:pt x="2609" y="14"/>
                  </a:lnTo>
                  <a:lnTo>
                    <a:pt x="2632" y="20"/>
                  </a:lnTo>
                  <a:lnTo>
                    <a:pt x="2654" y="26"/>
                  </a:lnTo>
                  <a:lnTo>
                    <a:pt x="2676" y="35"/>
                  </a:lnTo>
                  <a:lnTo>
                    <a:pt x="2698" y="44"/>
                  </a:lnTo>
                  <a:lnTo>
                    <a:pt x="2719" y="54"/>
                  </a:lnTo>
                  <a:lnTo>
                    <a:pt x="2740" y="66"/>
                  </a:lnTo>
                  <a:lnTo>
                    <a:pt x="2760" y="77"/>
                  </a:lnTo>
                  <a:lnTo>
                    <a:pt x="2780" y="91"/>
                  </a:lnTo>
                  <a:lnTo>
                    <a:pt x="2799" y="105"/>
                  </a:lnTo>
                  <a:lnTo>
                    <a:pt x="2818" y="121"/>
                  </a:lnTo>
                  <a:lnTo>
                    <a:pt x="2836" y="137"/>
                  </a:lnTo>
                  <a:lnTo>
                    <a:pt x="2853" y="155"/>
                  </a:lnTo>
                  <a:lnTo>
                    <a:pt x="2870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auto">
            <a:xfrm>
              <a:off x="2306" y="1270"/>
              <a:ext cx="336" cy="1001"/>
            </a:xfrm>
            <a:custGeom>
              <a:avLst/>
              <a:gdLst>
                <a:gd name="T0" fmla="*/ 1059 w 2016"/>
                <a:gd name="T1" fmla="*/ 1 h 6009"/>
                <a:gd name="T2" fmla="*/ 1211 w 2016"/>
                <a:gd name="T3" fmla="*/ 20 h 6009"/>
                <a:gd name="T4" fmla="*/ 1354 w 2016"/>
                <a:gd name="T5" fmla="*/ 61 h 6009"/>
                <a:gd name="T6" fmla="*/ 1487 w 2016"/>
                <a:gd name="T7" fmla="*/ 122 h 6009"/>
                <a:gd name="T8" fmla="*/ 1610 w 2016"/>
                <a:gd name="T9" fmla="*/ 201 h 6009"/>
                <a:gd name="T10" fmla="*/ 1719 w 2016"/>
                <a:gd name="T11" fmla="*/ 296 h 6009"/>
                <a:gd name="T12" fmla="*/ 1815 w 2016"/>
                <a:gd name="T13" fmla="*/ 406 h 6009"/>
                <a:gd name="T14" fmla="*/ 1893 w 2016"/>
                <a:gd name="T15" fmla="*/ 528 h 6009"/>
                <a:gd name="T16" fmla="*/ 1955 w 2016"/>
                <a:gd name="T17" fmla="*/ 662 h 6009"/>
                <a:gd name="T18" fmla="*/ 1995 w 2016"/>
                <a:gd name="T19" fmla="*/ 804 h 6009"/>
                <a:gd name="T20" fmla="*/ 2015 w 2016"/>
                <a:gd name="T21" fmla="*/ 956 h 6009"/>
                <a:gd name="T22" fmla="*/ 2015 w 2016"/>
                <a:gd name="T23" fmla="*/ 5053 h 6009"/>
                <a:gd name="T24" fmla="*/ 1995 w 2016"/>
                <a:gd name="T25" fmla="*/ 5204 h 6009"/>
                <a:gd name="T26" fmla="*/ 1955 w 2016"/>
                <a:gd name="T27" fmla="*/ 5347 h 6009"/>
                <a:gd name="T28" fmla="*/ 1893 w 2016"/>
                <a:gd name="T29" fmla="*/ 5481 h 6009"/>
                <a:gd name="T30" fmla="*/ 1815 w 2016"/>
                <a:gd name="T31" fmla="*/ 5604 h 6009"/>
                <a:gd name="T32" fmla="*/ 1719 w 2016"/>
                <a:gd name="T33" fmla="*/ 5714 h 6009"/>
                <a:gd name="T34" fmla="*/ 1610 w 2016"/>
                <a:gd name="T35" fmla="*/ 5808 h 6009"/>
                <a:gd name="T36" fmla="*/ 1487 w 2016"/>
                <a:gd name="T37" fmla="*/ 5888 h 6009"/>
                <a:gd name="T38" fmla="*/ 1354 w 2016"/>
                <a:gd name="T39" fmla="*/ 5948 h 6009"/>
                <a:gd name="T40" fmla="*/ 1211 w 2016"/>
                <a:gd name="T41" fmla="*/ 5989 h 6009"/>
                <a:gd name="T42" fmla="*/ 1059 w 2016"/>
                <a:gd name="T43" fmla="*/ 6008 h 6009"/>
                <a:gd name="T44" fmla="*/ 956 w 2016"/>
                <a:gd name="T45" fmla="*/ 6008 h 6009"/>
                <a:gd name="T46" fmla="*/ 806 w 2016"/>
                <a:gd name="T47" fmla="*/ 5989 h 6009"/>
                <a:gd name="T48" fmla="*/ 663 w 2016"/>
                <a:gd name="T49" fmla="*/ 5948 h 6009"/>
                <a:gd name="T50" fmla="*/ 529 w 2016"/>
                <a:gd name="T51" fmla="*/ 5888 h 6009"/>
                <a:gd name="T52" fmla="*/ 406 w 2016"/>
                <a:gd name="T53" fmla="*/ 5808 h 6009"/>
                <a:gd name="T54" fmla="*/ 296 w 2016"/>
                <a:gd name="T55" fmla="*/ 5714 h 6009"/>
                <a:gd name="T56" fmla="*/ 201 w 2016"/>
                <a:gd name="T57" fmla="*/ 5604 h 6009"/>
                <a:gd name="T58" fmla="*/ 122 w 2016"/>
                <a:gd name="T59" fmla="*/ 5481 h 6009"/>
                <a:gd name="T60" fmla="*/ 62 w 2016"/>
                <a:gd name="T61" fmla="*/ 5347 h 6009"/>
                <a:gd name="T62" fmla="*/ 20 w 2016"/>
                <a:gd name="T63" fmla="*/ 5204 h 6009"/>
                <a:gd name="T64" fmla="*/ 2 w 2016"/>
                <a:gd name="T65" fmla="*/ 5053 h 6009"/>
                <a:gd name="T66" fmla="*/ 2 w 2016"/>
                <a:gd name="T67" fmla="*/ 956 h 6009"/>
                <a:gd name="T68" fmla="*/ 20 w 2016"/>
                <a:gd name="T69" fmla="*/ 804 h 6009"/>
                <a:gd name="T70" fmla="*/ 62 w 2016"/>
                <a:gd name="T71" fmla="*/ 662 h 6009"/>
                <a:gd name="T72" fmla="*/ 122 w 2016"/>
                <a:gd name="T73" fmla="*/ 528 h 6009"/>
                <a:gd name="T74" fmla="*/ 201 w 2016"/>
                <a:gd name="T75" fmla="*/ 406 h 6009"/>
                <a:gd name="T76" fmla="*/ 296 w 2016"/>
                <a:gd name="T77" fmla="*/ 296 h 6009"/>
                <a:gd name="T78" fmla="*/ 406 w 2016"/>
                <a:gd name="T79" fmla="*/ 201 h 6009"/>
                <a:gd name="T80" fmla="*/ 529 w 2016"/>
                <a:gd name="T81" fmla="*/ 122 h 6009"/>
                <a:gd name="T82" fmla="*/ 663 w 2016"/>
                <a:gd name="T83" fmla="*/ 61 h 6009"/>
                <a:gd name="T84" fmla="*/ 806 w 2016"/>
                <a:gd name="T85" fmla="*/ 20 h 6009"/>
                <a:gd name="T86" fmla="*/ 956 w 2016"/>
                <a:gd name="T87" fmla="*/ 1 h 6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16" h="6009">
                  <a:moveTo>
                    <a:pt x="1008" y="0"/>
                  </a:moveTo>
                  <a:lnTo>
                    <a:pt x="1008" y="0"/>
                  </a:lnTo>
                  <a:lnTo>
                    <a:pt x="1059" y="1"/>
                  </a:lnTo>
                  <a:lnTo>
                    <a:pt x="1110" y="5"/>
                  </a:lnTo>
                  <a:lnTo>
                    <a:pt x="1161" y="11"/>
                  </a:lnTo>
                  <a:lnTo>
                    <a:pt x="1211" y="20"/>
                  </a:lnTo>
                  <a:lnTo>
                    <a:pt x="1259" y="32"/>
                  </a:lnTo>
                  <a:lnTo>
                    <a:pt x="1307" y="45"/>
                  </a:lnTo>
                  <a:lnTo>
                    <a:pt x="1354" y="61"/>
                  </a:lnTo>
                  <a:lnTo>
                    <a:pt x="1399" y="79"/>
                  </a:lnTo>
                  <a:lnTo>
                    <a:pt x="1444" y="99"/>
                  </a:lnTo>
                  <a:lnTo>
                    <a:pt x="1487" y="122"/>
                  </a:lnTo>
                  <a:lnTo>
                    <a:pt x="1530" y="146"/>
                  </a:lnTo>
                  <a:lnTo>
                    <a:pt x="1570" y="173"/>
                  </a:lnTo>
                  <a:lnTo>
                    <a:pt x="1610" y="201"/>
                  </a:lnTo>
                  <a:lnTo>
                    <a:pt x="1648" y="231"/>
                  </a:lnTo>
                  <a:lnTo>
                    <a:pt x="1685" y="262"/>
                  </a:lnTo>
                  <a:lnTo>
                    <a:pt x="1719" y="296"/>
                  </a:lnTo>
                  <a:lnTo>
                    <a:pt x="1754" y="331"/>
                  </a:lnTo>
                  <a:lnTo>
                    <a:pt x="1785" y="367"/>
                  </a:lnTo>
                  <a:lnTo>
                    <a:pt x="1815" y="406"/>
                  </a:lnTo>
                  <a:lnTo>
                    <a:pt x="1843" y="445"/>
                  </a:lnTo>
                  <a:lnTo>
                    <a:pt x="1870" y="485"/>
                  </a:lnTo>
                  <a:lnTo>
                    <a:pt x="1893" y="528"/>
                  </a:lnTo>
                  <a:lnTo>
                    <a:pt x="1916" y="571"/>
                  </a:lnTo>
                  <a:lnTo>
                    <a:pt x="1936" y="616"/>
                  </a:lnTo>
                  <a:lnTo>
                    <a:pt x="1955" y="662"/>
                  </a:lnTo>
                  <a:lnTo>
                    <a:pt x="1970" y="708"/>
                  </a:lnTo>
                  <a:lnTo>
                    <a:pt x="1984" y="756"/>
                  </a:lnTo>
                  <a:lnTo>
                    <a:pt x="1995" y="804"/>
                  </a:lnTo>
                  <a:lnTo>
                    <a:pt x="2004" y="854"/>
                  </a:lnTo>
                  <a:lnTo>
                    <a:pt x="2011" y="905"/>
                  </a:lnTo>
                  <a:lnTo>
                    <a:pt x="2015" y="956"/>
                  </a:lnTo>
                  <a:lnTo>
                    <a:pt x="2016" y="1007"/>
                  </a:lnTo>
                  <a:lnTo>
                    <a:pt x="2016" y="5002"/>
                  </a:lnTo>
                  <a:lnTo>
                    <a:pt x="2015" y="5053"/>
                  </a:lnTo>
                  <a:lnTo>
                    <a:pt x="2011" y="5105"/>
                  </a:lnTo>
                  <a:lnTo>
                    <a:pt x="2004" y="5155"/>
                  </a:lnTo>
                  <a:lnTo>
                    <a:pt x="1995" y="5204"/>
                  </a:lnTo>
                  <a:lnTo>
                    <a:pt x="1984" y="5253"/>
                  </a:lnTo>
                  <a:lnTo>
                    <a:pt x="1970" y="5301"/>
                  </a:lnTo>
                  <a:lnTo>
                    <a:pt x="1955" y="5347"/>
                  </a:lnTo>
                  <a:lnTo>
                    <a:pt x="1936" y="5393"/>
                  </a:lnTo>
                  <a:lnTo>
                    <a:pt x="1916" y="5437"/>
                  </a:lnTo>
                  <a:lnTo>
                    <a:pt x="1893" y="5481"/>
                  </a:lnTo>
                  <a:lnTo>
                    <a:pt x="1870" y="5523"/>
                  </a:lnTo>
                  <a:lnTo>
                    <a:pt x="1843" y="5564"/>
                  </a:lnTo>
                  <a:lnTo>
                    <a:pt x="1815" y="5604"/>
                  </a:lnTo>
                  <a:lnTo>
                    <a:pt x="1785" y="5641"/>
                  </a:lnTo>
                  <a:lnTo>
                    <a:pt x="1754" y="5679"/>
                  </a:lnTo>
                  <a:lnTo>
                    <a:pt x="1719" y="5714"/>
                  </a:lnTo>
                  <a:lnTo>
                    <a:pt x="1685" y="5747"/>
                  </a:lnTo>
                  <a:lnTo>
                    <a:pt x="1648" y="5779"/>
                  </a:lnTo>
                  <a:lnTo>
                    <a:pt x="1610" y="5808"/>
                  </a:lnTo>
                  <a:lnTo>
                    <a:pt x="1570" y="5837"/>
                  </a:lnTo>
                  <a:lnTo>
                    <a:pt x="1530" y="5863"/>
                  </a:lnTo>
                  <a:lnTo>
                    <a:pt x="1487" y="5888"/>
                  </a:lnTo>
                  <a:lnTo>
                    <a:pt x="1444" y="5910"/>
                  </a:lnTo>
                  <a:lnTo>
                    <a:pt x="1399" y="5930"/>
                  </a:lnTo>
                  <a:lnTo>
                    <a:pt x="1354" y="5948"/>
                  </a:lnTo>
                  <a:lnTo>
                    <a:pt x="1307" y="5964"/>
                  </a:lnTo>
                  <a:lnTo>
                    <a:pt x="1259" y="5978"/>
                  </a:lnTo>
                  <a:lnTo>
                    <a:pt x="1211" y="5989"/>
                  </a:lnTo>
                  <a:lnTo>
                    <a:pt x="1161" y="5998"/>
                  </a:lnTo>
                  <a:lnTo>
                    <a:pt x="1110" y="6004"/>
                  </a:lnTo>
                  <a:lnTo>
                    <a:pt x="1059" y="6008"/>
                  </a:lnTo>
                  <a:lnTo>
                    <a:pt x="1008" y="6009"/>
                  </a:lnTo>
                  <a:lnTo>
                    <a:pt x="1008" y="6009"/>
                  </a:lnTo>
                  <a:lnTo>
                    <a:pt x="956" y="6008"/>
                  </a:lnTo>
                  <a:lnTo>
                    <a:pt x="905" y="6004"/>
                  </a:lnTo>
                  <a:lnTo>
                    <a:pt x="855" y="5998"/>
                  </a:lnTo>
                  <a:lnTo>
                    <a:pt x="806" y="5989"/>
                  </a:lnTo>
                  <a:lnTo>
                    <a:pt x="757" y="5978"/>
                  </a:lnTo>
                  <a:lnTo>
                    <a:pt x="709" y="5964"/>
                  </a:lnTo>
                  <a:lnTo>
                    <a:pt x="663" y="5948"/>
                  </a:lnTo>
                  <a:lnTo>
                    <a:pt x="617" y="5930"/>
                  </a:lnTo>
                  <a:lnTo>
                    <a:pt x="571" y="5910"/>
                  </a:lnTo>
                  <a:lnTo>
                    <a:pt x="529" y="5888"/>
                  </a:lnTo>
                  <a:lnTo>
                    <a:pt x="486" y="5863"/>
                  </a:lnTo>
                  <a:lnTo>
                    <a:pt x="445" y="5837"/>
                  </a:lnTo>
                  <a:lnTo>
                    <a:pt x="406" y="5808"/>
                  </a:lnTo>
                  <a:lnTo>
                    <a:pt x="367" y="5779"/>
                  </a:lnTo>
                  <a:lnTo>
                    <a:pt x="331" y="5747"/>
                  </a:lnTo>
                  <a:lnTo>
                    <a:pt x="296" y="5714"/>
                  </a:lnTo>
                  <a:lnTo>
                    <a:pt x="263" y="5679"/>
                  </a:lnTo>
                  <a:lnTo>
                    <a:pt x="231" y="5641"/>
                  </a:lnTo>
                  <a:lnTo>
                    <a:pt x="201" y="5604"/>
                  </a:lnTo>
                  <a:lnTo>
                    <a:pt x="173" y="5564"/>
                  </a:lnTo>
                  <a:lnTo>
                    <a:pt x="147" y="5523"/>
                  </a:lnTo>
                  <a:lnTo>
                    <a:pt x="122" y="5481"/>
                  </a:lnTo>
                  <a:lnTo>
                    <a:pt x="100" y="5437"/>
                  </a:lnTo>
                  <a:lnTo>
                    <a:pt x="79" y="5393"/>
                  </a:lnTo>
                  <a:lnTo>
                    <a:pt x="62" y="5347"/>
                  </a:lnTo>
                  <a:lnTo>
                    <a:pt x="45" y="5301"/>
                  </a:lnTo>
                  <a:lnTo>
                    <a:pt x="32" y="5253"/>
                  </a:lnTo>
                  <a:lnTo>
                    <a:pt x="20" y="5204"/>
                  </a:lnTo>
                  <a:lnTo>
                    <a:pt x="12" y="5155"/>
                  </a:lnTo>
                  <a:lnTo>
                    <a:pt x="5" y="5105"/>
                  </a:lnTo>
                  <a:lnTo>
                    <a:pt x="2" y="5053"/>
                  </a:lnTo>
                  <a:lnTo>
                    <a:pt x="0" y="5002"/>
                  </a:lnTo>
                  <a:lnTo>
                    <a:pt x="0" y="1007"/>
                  </a:lnTo>
                  <a:lnTo>
                    <a:pt x="2" y="956"/>
                  </a:lnTo>
                  <a:lnTo>
                    <a:pt x="5" y="905"/>
                  </a:lnTo>
                  <a:lnTo>
                    <a:pt x="12" y="854"/>
                  </a:lnTo>
                  <a:lnTo>
                    <a:pt x="20" y="804"/>
                  </a:lnTo>
                  <a:lnTo>
                    <a:pt x="32" y="756"/>
                  </a:lnTo>
                  <a:lnTo>
                    <a:pt x="45" y="708"/>
                  </a:lnTo>
                  <a:lnTo>
                    <a:pt x="62" y="662"/>
                  </a:lnTo>
                  <a:lnTo>
                    <a:pt x="79" y="616"/>
                  </a:lnTo>
                  <a:lnTo>
                    <a:pt x="100" y="571"/>
                  </a:lnTo>
                  <a:lnTo>
                    <a:pt x="122" y="528"/>
                  </a:lnTo>
                  <a:lnTo>
                    <a:pt x="147" y="485"/>
                  </a:lnTo>
                  <a:lnTo>
                    <a:pt x="173" y="445"/>
                  </a:lnTo>
                  <a:lnTo>
                    <a:pt x="201" y="406"/>
                  </a:lnTo>
                  <a:lnTo>
                    <a:pt x="231" y="367"/>
                  </a:lnTo>
                  <a:lnTo>
                    <a:pt x="263" y="331"/>
                  </a:lnTo>
                  <a:lnTo>
                    <a:pt x="296" y="296"/>
                  </a:lnTo>
                  <a:lnTo>
                    <a:pt x="331" y="262"/>
                  </a:lnTo>
                  <a:lnTo>
                    <a:pt x="367" y="231"/>
                  </a:lnTo>
                  <a:lnTo>
                    <a:pt x="406" y="201"/>
                  </a:lnTo>
                  <a:lnTo>
                    <a:pt x="445" y="173"/>
                  </a:lnTo>
                  <a:lnTo>
                    <a:pt x="486" y="146"/>
                  </a:lnTo>
                  <a:lnTo>
                    <a:pt x="529" y="122"/>
                  </a:lnTo>
                  <a:lnTo>
                    <a:pt x="571" y="99"/>
                  </a:lnTo>
                  <a:lnTo>
                    <a:pt x="617" y="79"/>
                  </a:lnTo>
                  <a:lnTo>
                    <a:pt x="663" y="61"/>
                  </a:lnTo>
                  <a:lnTo>
                    <a:pt x="709" y="45"/>
                  </a:lnTo>
                  <a:lnTo>
                    <a:pt x="757" y="32"/>
                  </a:lnTo>
                  <a:lnTo>
                    <a:pt x="806" y="20"/>
                  </a:lnTo>
                  <a:lnTo>
                    <a:pt x="855" y="11"/>
                  </a:lnTo>
                  <a:lnTo>
                    <a:pt x="905" y="5"/>
                  </a:lnTo>
                  <a:lnTo>
                    <a:pt x="956" y="1"/>
                  </a:lnTo>
                  <a:lnTo>
                    <a:pt x="1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auto">
            <a:xfrm>
              <a:off x="2136" y="2087"/>
              <a:ext cx="446" cy="867"/>
            </a:xfrm>
            <a:custGeom>
              <a:avLst/>
              <a:gdLst>
                <a:gd name="T0" fmla="*/ 2246 w 2673"/>
                <a:gd name="T1" fmla="*/ 48 h 5204"/>
                <a:gd name="T2" fmla="*/ 2338 w 2673"/>
                <a:gd name="T3" fmla="*/ 93 h 5204"/>
                <a:gd name="T4" fmla="*/ 2420 w 2673"/>
                <a:gd name="T5" fmla="*/ 150 h 5204"/>
                <a:gd name="T6" fmla="*/ 2493 w 2673"/>
                <a:gd name="T7" fmla="*/ 217 h 5204"/>
                <a:gd name="T8" fmla="*/ 2554 w 2673"/>
                <a:gd name="T9" fmla="*/ 295 h 5204"/>
                <a:gd name="T10" fmla="*/ 2604 w 2673"/>
                <a:gd name="T11" fmla="*/ 379 h 5204"/>
                <a:gd name="T12" fmla="*/ 2640 w 2673"/>
                <a:gd name="T13" fmla="*/ 470 h 5204"/>
                <a:gd name="T14" fmla="*/ 2664 w 2673"/>
                <a:gd name="T15" fmla="*/ 565 h 5204"/>
                <a:gd name="T16" fmla="*/ 2673 w 2673"/>
                <a:gd name="T17" fmla="*/ 664 h 5204"/>
                <a:gd name="T18" fmla="*/ 2668 w 2673"/>
                <a:gd name="T19" fmla="*/ 764 h 5204"/>
                <a:gd name="T20" fmla="*/ 2647 w 2673"/>
                <a:gd name="T21" fmla="*/ 865 h 5204"/>
                <a:gd name="T22" fmla="*/ 1311 w 2673"/>
                <a:gd name="T23" fmla="*/ 4777 h 5204"/>
                <a:gd name="T24" fmla="*/ 1266 w 2673"/>
                <a:gd name="T25" fmla="*/ 4869 h 5204"/>
                <a:gd name="T26" fmla="*/ 1209 w 2673"/>
                <a:gd name="T27" fmla="*/ 4951 h 5204"/>
                <a:gd name="T28" fmla="*/ 1141 w 2673"/>
                <a:gd name="T29" fmla="*/ 5023 h 5204"/>
                <a:gd name="T30" fmla="*/ 1064 w 2673"/>
                <a:gd name="T31" fmla="*/ 5084 h 5204"/>
                <a:gd name="T32" fmla="*/ 979 w 2673"/>
                <a:gd name="T33" fmla="*/ 5133 h 5204"/>
                <a:gd name="T34" fmla="*/ 888 w 2673"/>
                <a:gd name="T35" fmla="*/ 5170 h 5204"/>
                <a:gd name="T36" fmla="*/ 793 w 2673"/>
                <a:gd name="T37" fmla="*/ 5194 h 5204"/>
                <a:gd name="T38" fmla="*/ 694 w 2673"/>
                <a:gd name="T39" fmla="*/ 5204 h 5204"/>
                <a:gd name="T40" fmla="*/ 594 w 2673"/>
                <a:gd name="T41" fmla="*/ 5198 h 5204"/>
                <a:gd name="T42" fmla="*/ 493 w 2673"/>
                <a:gd name="T43" fmla="*/ 5178 h 5204"/>
                <a:gd name="T44" fmla="*/ 428 w 2673"/>
                <a:gd name="T45" fmla="*/ 5155 h 5204"/>
                <a:gd name="T46" fmla="*/ 336 w 2673"/>
                <a:gd name="T47" fmla="*/ 5110 h 5204"/>
                <a:gd name="T48" fmla="*/ 253 w 2673"/>
                <a:gd name="T49" fmla="*/ 5053 h 5204"/>
                <a:gd name="T50" fmla="*/ 180 w 2673"/>
                <a:gd name="T51" fmla="*/ 4985 h 5204"/>
                <a:gd name="T52" fmla="*/ 120 w 2673"/>
                <a:gd name="T53" fmla="*/ 4908 h 5204"/>
                <a:gd name="T54" fmla="*/ 71 w 2673"/>
                <a:gd name="T55" fmla="*/ 4823 h 5204"/>
                <a:gd name="T56" fmla="*/ 33 w 2673"/>
                <a:gd name="T57" fmla="*/ 4732 h 5204"/>
                <a:gd name="T58" fmla="*/ 10 w 2673"/>
                <a:gd name="T59" fmla="*/ 4637 h 5204"/>
                <a:gd name="T60" fmla="*/ 0 w 2673"/>
                <a:gd name="T61" fmla="*/ 4539 h 5204"/>
                <a:gd name="T62" fmla="*/ 5 w 2673"/>
                <a:gd name="T63" fmla="*/ 4438 h 5204"/>
                <a:gd name="T64" fmla="*/ 26 w 2673"/>
                <a:gd name="T65" fmla="*/ 4339 h 5204"/>
                <a:gd name="T66" fmla="*/ 1363 w 2673"/>
                <a:gd name="T67" fmla="*/ 427 h 5204"/>
                <a:gd name="T68" fmla="*/ 1408 w 2673"/>
                <a:gd name="T69" fmla="*/ 334 h 5204"/>
                <a:gd name="T70" fmla="*/ 1465 w 2673"/>
                <a:gd name="T71" fmla="*/ 252 h 5204"/>
                <a:gd name="T72" fmla="*/ 1533 w 2673"/>
                <a:gd name="T73" fmla="*/ 180 h 5204"/>
                <a:gd name="T74" fmla="*/ 1610 w 2673"/>
                <a:gd name="T75" fmla="*/ 119 h 5204"/>
                <a:gd name="T76" fmla="*/ 1695 w 2673"/>
                <a:gd name="T77" fmla="*/ 69 h 5204"/>
                <a:gd name="T78" fmla="*/ 1785 w 2673"/>
                <a:gd name="T79" fmla="*/ 33 h 5204"/>
                <a:gd name="T80" fmla="*/ 1881 w 2673"/>
                <a:gd name="T81" fmla="*/ 9 h 5204"/>
                <a:gd name="T82" fmla="*/ 1980 w 2673"/>
                <a:gd name="T83" fmla="*/ 0 h 5204"/>
                <a:gd name="T84" fmla="*/ 2079 w 2673"/>
                <a:gd name="T85" fmla="*/ 5 h 5204"/>
                <a:gd name="T86" fmla="*/ 2180 w 2673"/>
                <a:gd name="T87" fmla="*/ 25 h 5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73" h="5204">
                  <a:moveTo>
                    <a:pt x="2213" y="35"/>
                  </a:moveTo>
                  <a:lnTo>
                    <a:pt x="2214" y="35"/>
                  </a:lnTo>
                  <a:lnTo>
                    <a:pt x="2246" y="48"/>
                  </a:lnTo>
                  <a:lnTo>
                    <a:pt x="2278" y="61"/>
                  </a:lnTo>
                  <a:lnTo>
                    <a:pt x="2308" y="77"/>
                  </a:lnTo>
                  <a:lnTo>
                    <a:pt x="2338" y="93"/>
                  </a:lnTo>
                  <a:lnTo>
                    <a:pt x="2366" y="111"/>
                  </a:lnTo>
                  <a:lnTo>
                    <a:pt x="2394" y="129"/>
                  </a:lnTo>
                  <a:lnTo>
                    <a:pt x="2420" y="150"/>
                  </a:lnTo>
                  <a:lnTo>
                    <a:pt x="2446" y="172"/>
                  </a:lnTo>
                  <a:lnTo>
                    <a:pt x="2470" y="195"/>
                  </a:lnTo>
                  <a:lnTo>
                    <a:pt x="2493" y="217"/>
                  </a:lnTo>
                  <a:lnTo>
                    <a:pt x="2515" y="242"/>
                  </a:lnTo>
                  <a:lnTo>
                    <a:pt x="2535" y="268"/>
                  </a:lnTo>
                  <a:lnTo>
                    <a:pt x="2554" y="295"/>
                  </a:lnTo>
                  <a:lnTo>
                    <a:pt x="2572" y="322"/>
                  </a:lnTo>
                  <a:lnTo>
                    <a:pt x="2588" y="350"/>
                  </a:lnTo>
                  <a:lnTo>
                    <a:pt x="2604" y="379"/>
                  </a:lnTo>
                  <a:lnTo>
                    <a:pt x="2617" y="409"/>
                  </a:lnTo>
                  <a:lnTo>
                    <a:pt x="2630" y="439"/>
                  </a:lnTo>
                  <a:lnTo>
                    <a:pt x="2640" y="470"/>
                  </a:lnTo>
                  <a:lnTo>
                    <a:pt x="2649" y="501"/>
                  </a:lnTo>
                  <a:lnTo>
                    <a:pt x="2658" y="533"/>
                  </a:lnTo>
                  <a:lnTo>
                    <a:pt x="2664" y="565"/>
                  </a:lnTo>
                  <a:lnTo>
                    <a:pt x="2669" y="599"/>
                  </a:lnTo>
                  <a:lnTo>
                    <a:pt x="2672" y="631"/>
                  </a:lnTo>
                  <a:lnTo>
                    <a:pt x="2673" y="664"/>
                  </a:lnTo>
                  <a:lnTo>
                    <a:pt x="2673" y="698"/>
                  </a:lnTo>
                  <a:lnTo>
                    <a:pt x="2672" y="731"/>
                  </a:lnTo>
                  <a:lnTo>
                    <a:pt x="2668" y="764"/>
                  </a:lnTo>
                  <a:lnTo>
                    <a:pt x="2663" y="797"/>
                  </a:lnTo>
                  <a:lnTo>
                    <a:pt x="2657" y="832"/>
                  </a:lnTo>
                  <a:lnTo>
                    <a:pt x="2647" y="865"/>
                  </a:lnTo>
                  <a:lnTo>
                    <a:pt x="2637" y="898"/>
                  </a:lnTo>
                  <a:lnTo>
                    <a:pt x="1323" y="4744"/>
                  </a:lnTo>
                  <a:lnTo>
                    <a:pt x="1311" y="4777"/>
                  </a:lnTo>
                  <a:lnTo>
                    <a:pt x="1297" y="4808"/>
                  </a:lnTo>
                  <a:lnTo>
                    <a:pt x="1283" y="4839"/>
                  </a:lnTo>
                  <a:lnTo>
                    <a:pt x="1266" y="4869"/>
                  </a:lnTo>
                  <a:lnTo>
                    <a:pt x="1249" y="4897"/>
                  </a:lnTo>
                  <a:lnTo>
                    <a:pt x="1229" y="4925"/>
                  </a:lnTo>
                  <a:lnTo>
                    <a:pt x="1209" y="4951"/>
                  </a:lnTo>
                  <a:lnTo>
                    <a:pt x="1187" y="4977"/>
                  </a:lnTo>
                  <a:lnTo>
                    <a:pt x="1165" y="5001"/>
                  </a:lnTo>
                  <a:lnTo>
                    <a:pt x="1141" y="5023"/>
                  </a:lnTo>
                  <a:lnTo>
                    <a:pt x="1116" y="5045"/>
                  </a:lnTo>
                  <a:lnTo>
                    <a:pt x="1090" y="5065"/>
                  </a:lnTo>
                  <a:lnTo>
                    <a:pt x="1064" y="5084"/>
                  </a:lnTo>
                  <a:lnTo>
                    <a:pt x="1036" y="5102"/>
                  </a:lnTo>
                  <a:lnTo>
                    <a:pt x="1008" y="5119"/>
                  </a:lnTo>
                  <a:lnTo>
                    <a:pt x="979" y="5133"/>
                  </a:lnTo>
                  <a:lnTo>
                    <a:pt x="949" y="5148"/>
                  </a:lnTo>
                  <a:lnTo>
                    <a:pt x="919" y="5160"/>
                  </a:lnTo>
                  <a:lnTo>
                    <a:pt x="888" y="5170"/>
                  </a:lnTo>
                  <a:lnTo>
                    <a:pt x="857" y="5180"/>
                  </a:lnTo>
                  <a:lnTo>
                    <a:pt x="825" y="5188"/>
                  </a:lnTo>
                  <a:lnTo>
                    <a:pt x="793" y="5194"/>
                  </a:lnTo>
                  <a:lnTo>
                    <a:pt x="761" y="5198"/>
                  </a:lnTo>
                  <a:lnTo>
                    <a:pt x="727" y="5201"/>
                  </a:lnTo>
                  <a:lnTo>
                    <a:pt x="694" y="5204"/>
                  </a:lnTo>
                  <a:lnTo>
                    <a:pt x="661" y="5204"/>
                  </a:lnTo>
                  <a:lnTo>
                    <a:pt x="628" y="5201"/>
                  </a:lnTo>
                  <a:lnTo>
                    <a:pt x="594" y="5198"/>
                  </a:lnTo>
                  <a:lnTo>
                    <a:pt x="561" y="5193"/>
                  </a:lnTo>
                  <a:lnTo>
                    <a:pt x="526" y="5187"/>
                  </a:lnTo>
                  <a:lnTo>
                    <a:pt x="493" y="5178"/>
                  </a:lnTo>
                  <a:lnTo>
                    <a:pt x="460" y="5167"/>
                  </a:lnTo>
                  <a:lnTo>
                    <a:pt x="460" y="5167"/>
                  </a:lnTo>
                  <a:lnTo>
                    <a:pt x="428" y="5155"/>
                  </a:lnTo>
                  <a:lnTo>
                    <a:pt x="396" y="5141"/>
                  </a:lnTo>
                  <a:lnTo>
                    <a:pt x="365" y="5127"/>
                  </a:lnTo>
                  <a:lnTo>
                    <a:pt x="336" y="5110"/>
                  </a:lnTo>
                  <a:lnTo>
                    <a:pt x="307" y="5093"/>
                  </a:lnTo>
                  <a:lnTo>
                    <a:pt x="280" y="5073"/>
                  </a:lnTo>
                  <a:lnTo>
                    <a:pt x="253" y="5053"/>
                  </a:lnTo>
                  <a:lnTo>
                    <a:pt x="228" y="5032"/>
                  </a:lnTo>
                  <a:lnTo>
                    <a:pt x="204" y="5009"/>
                  </a:lnTo>
                  <a:lnTo>
                    <a:pt x="180" y="4985"/>
                  </a:lnTo>
                  <a:lnTo>
                    <a:pt x="160" y="4960"/>
                  </a:lnTo>
                  <a:lnTo>
                    <a:pt x="139" y="4934"/>
                  </a:lnTo>
                  <a:lnTo>
                    <a:pt x="120" y="4908"/>
                  </a:lnTo>
                  <a:lnTo>
                    <a:pt x="102" y="4880"/>
                  </a:lnTo>
                  <a:lnTo>
                    <a:pt x="85" y="4852"/>
                  </a:lnTo>
                  <a:lnTo>
                    <a:pt x="71" y="4823"/>
                  </a:lnTo>
                  <a:lnTo>
                    <a:pt x="57" y="4793"/>
                  </a:lnTo>
                  <a:lnTo>
                    <a:pt x="45" y="4763"/>
                  </a:lnTo>
                  <a:lnTo>
                    <a:pt x="33" y="4732"/>
                  </a:lnTo>
                  <a:lnTo>
                    <a:pt x="24" y="4701"/>
                  </a:lnTo>
                  <a:lnTo>
                    <a:pt x="17" y="4669"/>
                  </a:lnTo>
                  <a:lnTo>
                    <a:pt x="10" y="4637"/>
                  </a:lnTo>
                  <a:lnTo>
                    <a:pt x="5" y="4605"/>
                  </a:lnTo>
                  <a:lnTo>
                    <a:pt x="2" y="4572"/>
                  </a:lnTo>
                  <a:lnTo>
                    <a:pt x="0" y="4539"/>
                  </a:lnTo>
                  <a:lnTo>
                    <a:pt x="0" y="4505"/>
                  </a:lnTo>
                  <a:lnTo>
                    <a:pt x="2" y="4472"/>
                  </a:lnTo>
                  <a:lnTo>
                    <a:pt x="5" y="4438"/>
                  </a:lnTo>
                  <a:lnTo>
                    <a:pt x="10" y="4405"/>
                  </a:lnTo>
                  <a:lnTo>
                    <a:pt x="18" y="4372"/>
                  </a:lnTo>
                  <a:lnTo>
                    <a:pt x="26" y="4339"/>
                  </a:lnTo>
                  <a:lnTo>
                    <a:pt x="36" y="4304"/>
                  </a:lnTo>
                  <a:lnTo>
                    <a:pt x="1351" y="459"/>
                  </a:lnTo>
                  <a:lnTo>
                    <a:pt x="1363" y="427"/>
                  </a:lnTo>
                  <a:lnTo>
                    <a:pt x="1376" y="395"/>
                  </a:lnTo>
                  <a:lnTo>
                    <a:pt x="1392" y="364"/>
                  </a:lnTo>
                  <a:lnTo>
                    <a:pt x="1408" y="334"/>
                  </a:lnTo>
                  <a:lnTo>
                    <a:pt x="1426" y="305"/>
                  </a:lnTo>
                  <a:lnTo>
                    <a:pt x="1444" y="279"/>
                  </a:lnTo>
                  <a:lnTo>
                    <a:pt x="1465" y="252"/>
                  </a:lnTo>
                  <a:lnTo>
                    <a:pt x="1487" y="227"/>
                  </a:lnTo>
                  <a:lnTo>
                    <a:pt x="1510" y="203"/>
                  </a:lnTo>
                  <a:lnTo>
                    <a:pt x="1533" y="180"/>
                  </a:lnTo>
                  <a:lnTo>
                    <a:pt x="1558" y="158"/>
                  </a:lnTo>
                  <a:lnTo>
                    <a:pt x="1583" y="138"/>
                  </a:lnTo>
                  <a:lnTo>
                    <a:pt x="1610" y="119"/>
                  </a:lnTo>
                  <a:lnTo>
                    <a:pt x="1637" y="101"/>
                  </a:lnTo>
                  <a:lnTo>
                    <a:pt x="1666" y="85"/>
                  </a:lnTo>
                  <a:lnTo>
                    <a:pt x="1695" y="69"/>
                  </a:lnTo>
                  <a:lnTo>
                    <a:pt x="1724" y="56"/>
                  </a:lnTo>
                  <a:lnTo>
                    <a:pt x="1755" y="43"/>
                  </a:lnTo>
                  <a:lnTo>
                    <a:pt x="1785" y="33"/>
                  </a:lnTo>
                  <a:lnTo>
                    <a:pt x="1817" y="24"/>
                  </a:lnTo>
                  <a:lnTo>
                    <a:pt x="1848" y="15"/>
                  </a:lnTo>
                  <a:lnTo>
                    <a:pt x="1881" y="9"/>
                  </a:lnTo>
                  <a:lnTo>
                    <a:pt x="1914" y="4"/>
                  </a:lnTo>
                  <a:lnTo>
                    <a:pt x="1947" y="1"/>
                  </a:lnTo>
                  <a:lnTo>
                    <a:pt x="1980" y="0"/>
                  </a:lnTo>
                  <a:lnTo>
                    <a:pt x="2013" y="0"/>
                  </a:lnTo>
                  <a:lnTo>
                    <a:pt x="2046" y="1"/>
                  </a:lnTo>
                  <a:lnTo>
                    <a:pt x="2079" y="5"/>
                  </a:lnTo>
                  <a:lnTo>
                    <a:pt x="2114" y="9"/>
                  </a:lnTo>
                  <a:lnTo>
                    <a:pt x="2147" y="16"/>
                  </a:lnTo>
                  <a:lnTo>
                    <a:pt x="2180" y="25"/>
                  </a:lnTo>
                  <a:lnTo>
                    <a:pt x="221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1590" y="2748"/>
              <a:ext cx="756" cy="648"/>
            </a:xfrm>
            <a:custGeom>
              <a:avLst/>
              <a:gdLst>
                <a:gd name="T0" fmla="*/ 126 w 4538"/>
                <a:gd name="T1" fmla="*/ 3606 h 3889"/>
                <a:gd name="T2" fmla="*/ 74 w 4538"/>
                <a:gd name="T3" fmla="*/ 3518 h 3889"/>
                <a:gd name="T4" fmla="*/ 34 w 4538"/>
                <a:gd name="T5" fmla="*/ 3426 h 3889"/>
                <a:gd name="T6" fmla="*/ 10 w 4538"/>
                <a:gd name="T7" fmla="*/ 3330 h 3889"/>
                <a:gd name="T8" fmla="*/ 0 w 4538"/>
                <a:gd name="T9" fmla="*/ 3232 h 3889"/>
                <a:gd name="T10" fmla="*/ 4 w 4538"/>
                <a:gd name="T11" fmla="*/ 3134 h 3889"/>
                <a:gd name="T12" fmla="*/ 23 w 4538"/>
                <a:gd name="T13" fmla="*/ 3038 h 3889"/>
                <a:gd name="T14" fmla="*/ 54 w 4538"/>
                <a:gd name="T15" fmla="*/ 2944 h 3889"/>
                <a:gd name="T16" fmla="*/ 98 w 4538"/>
                <a:gd name="T17" fmla="*/ 2856 h 3889"/>
                <a:gd name="T18" fmla="*/ 157 w 4538"/>
                <a:gd name="T19" fmla="*/ 2775 h 3889"/>
                <a:gd name="T20" fmla="*/ 229 w 4538"/>
                <a:gd name="T21" fmla="*/ 2701 h 3889"/>
                <a:gd name="T22" fmla="*/ 3463 w 4538"/>
                <a:gd name="T23" fmla="*/ 126 h 3889"/>
                <a:gd name="T24" fmla="*/ 3551 w 4538"/>
                <a:gd name="T25" fmla="*/ 72 h 3889"/>
                <a:gd name="T26" fmla="*/ 3643 w 4538"/>
                <a:gd name="T27" fmla="*/ 34 h 3889"/>
                <a:gd name="T28" fmla="*/ 3739 w 4538"/>
                <a:gd name="T29" fmla="*/ 10 h 3889"/>
                <a:gd name="T30" fmla="*/ 3837 w 4538"/>
                <a:gd name="T31" fmla="*/ 0 h 3889"/>
                <a:gd name="T32" fmla="*/ 3935 w 4538"/>
                <a:gd name="T33" fmla="*/ 4 h 3889"/>
                <a:gd name="T34" fmla="*/ 4031 w 4538"/>
                <a:gd name="T35" fmla="*/ 22 h 3889"/>
                <a:gd name="T36" fmla="*/ 4125 w 4538"/>
                <a:gd name="T37" fmla="*/ 54 h 3889"/>
                <a:gd name="T38" fmla="*/ 4213 w 4538"/>
                <a:gd name="T39" fmla="*/ 98 h 3889"/>
                <a:gd name="T40" fmla="*/ 4295 w 4538"/>
                <a:gd name="T41" fmla="*/ 157 h 3889"/>
                <a:gd name="T42" fmla="*/ 4368 w 4538"/>
                <a:gd name="T43" fmla="*/ 229 h 3889"/>
                <a:gd name="T44" fmla="*/ 4412 w 4538"/>
                <a:gd name="T45" fmla="*/ 283 h 3889"/>
                <a:gd name="T46" fmla="*/ 4464 w 4538"/>
                <a:gd name="T47" fmla="*/ 371 h 3889"/>
                <a:gd name="T48" fmla="*/ 4503 w 4538"/>
                <a:gd name="T49" fmla="*/ 463 h 3889"/>
                <a:gd name="T50" fmla="*/ 4528 w 4538"/>
                <a:gd name="T51" fmla="*/ 559 h 3889"/>
                <a:gd name="T52" fmla="*/ 4537 w 4538"/>
                <a:gd name="T53" fmla="*/ 656 h 3889"/>
                <a:gd name="T54" fmla="*/ 4534 w 4538"/>
                <a:gd name="T55" fmla="*/ 755 h 3889"/>
                <a:gd name="T56" fmla="*/ 4515 w 4538"/>
                <a:gd name="T57" fmla="*/ 851 h 3889"/>
                <a:gd name="T58" fmla="*/ 4484 w 4538"/>
                <a:gd name="T59" fmla="*/ 944 h 3889"/>
                <a:gd name="T60" fmla="*/ 4439 w 4538"/>
                <a:gd name="T61" fmla="*/ 1032 h 3889"/>
                <a:gd name="T62" fmla="*/ 4381 w 4538"/>
                <a:gd name="T63" fmla="*/ 1114 h 3889"/>
                <a:gd name="T64" fmla="*/ 4309 w 4538"/>
                <a:gd name="T65" fmla="*/ 1187 h 3889"/>
                <a:gd name="T66" fmla="*/ 1074 w 4538"/>
                <a:gd name="T67" fmla="*/ 3763 h 3889"/>
                <a:gd name="T68" fmla="*/ 987 w 4538"/>
                <a:gd name="T69" fmla="*/ 3815 h 3889"/>
                <a:gd name="T70" fmla="*/ 894 w 4538"/>
                <a:gd name="T71" fmla="*/ 3855 h 3889"/>
                <a:gd name="T72" fmla="*/ 799 w 4538"/>
                <a:gd name="T73" fmla="*/ 3879 h 3889"/>
                <a:gd name="T74" fmla="*/ 700 w 4538"/>
                <a:gd name="T75" fmla="*/ 3889 h 3889"/>
                <a:gd name="T76" fmla="*/ 603 w 4538"/>
                <a:gd name="T77" fmla="*/ 3885 h 3889"/>
                <a:gd name="T78" fmla="*/ 507 w 4538"/>
                <a:gd name="T79" fmla="*/ 3867 h 3889"/>
                <a:gd name="T80" fmla="*/ 413 w 4538"/>
                <a:gd name="T81" fmla="*/ 3835 h 3889"/>
                <a:gd name="T82" fmla="*/ 325 w 4538"/>
                <a:gd name="T83" fmla="*/ 3791 h 3889"/>
                <a:gd name="T84" fmla="*/ 243 w 4538"/>
                <a:gd name="T85" fmla="*/ 3732 h 3889"/>
                <a:gd name="T86" fmla="*/ 170 w 4538"/>
                <a:gd name="T87" fmla="*/ 3660 h 3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38" h="3889">
                  <a:moveTo>
                    <a:pt x="147" y="3634"/>
                  </a:moveTo>
                  <a:lnTo>
                    <a:pt x="147" y="3634"/>
                  </a:lnTo>
                  <a:lnTo>
                    <a:pt x="126" y="3606"/>
                  </a:lnTo>
                  <a:lnTo>
                    <a:pt x="107" y="3577"/>
                  </a:lnTo>
                  <a:lnTo>
                    <a:pt x="89" y="3548"/>
                  </a:lnTo>
                  <a:lnTo>
                    <a:pt x="74" y="3518"/>
                  </a:lnTo>
                  <a:lnTo>
                    <a:pt x="59" y="3488"/>
                  </a:lnTo>
                  <a:lnTo>
                    <a:pt x="46" y="3457"/>
                  </a:lnTo>
                  <a:lnTo>
                    <a:pt x="34" y="3426"/>
                  </a:lnTo>
                  <a:lnTo>
                    <a:pt x="25" y="3394"/>
                  </a:lnTo>
                  <a:lnTo>
                    <a:pt x="17" y="3362"/>
                  </a:lnTo>
                  <a:lnTo>
                    <a:pt x="10" y="3330"/>
                  </a:lnTo>
                  <a:lnTo>
                    <a:pt x="5" y="3298"/>
                  </a:lnTo>
                  <a:lnTo>
                    <a:pt x="2" y="3264"/>
                  </a:lnTo>
                  <a:lnTo>
                    <a:pt x="0" y="3232"/>
                  </a:lnTo>
                  <a:lnTo>
                    <a:pt x="0" y="3199"/>
                  </a:lnTo>
                  <a:lnTo>
                    <a:pt x="1" y="3167"/>
                  </a:lnTo>
                  <a:lnTo>
                    <a:pt x="4" y="3134"/>
                  </a:lnTo>
                  <a:lnTo>
                    <a:pt x="9" y="3102"/>
                  </a:lnTo>
                  <a:lnTo>
                    <a:pt x="15" y="3070"/>
                  </a:lnTo>
                  <a:lnTo>
                    <a:pt x="23" y="3038"/>
                  </a:lnTo>
                  <a:lnTo>
                    <a:pt x="31" y="3007"/>
                  </a:lnTo>
                  <a:lnTo>
                    <a:pt x="41" y="2975"/>
                  </a:lnTo>
                  <a:lnTo>
                    <a:pt x="54" y="2944"/>
                  </a:lnTo>
                  <a:lnTo>
                    <a:pt x="67" y="2914"/>
                  </a:lnTo>
                  <a:lnTo>
                    <a:pt x="83" y="2885"/>
                  </a:lnTo>
                  <a:lnTo>
                    <a:pt x="98" y="2856"/>
                  </a:lnTo>
                  <a:lnTo>
                    <a:pt x="117" y="2828"/>
                  </a:lnTo>
                  <a:lnTo>
                    <a:pt x="137" y="2801"/>
                  </a:lnTo>
                  <a:lnTo>
                    <a:pt x="157" y="2775"/>
                  </a:lnTo>
                  <a:lnTo>
                    <a:pt x="179" y="2750"/>
                  </a:lnTo>
                  <a:lnTo>
                    <a:pt x="203" y="2725"/>
                  </a:lnTo>
                  <a:lnTo>
                    <a:pt x="229" y="2701"/>
                  </a:lnTo>
                  <a:lnTo>
                    <a:pt x="256" y="2679"/>
                  </a:lnTo>
                  <a:lnTo>
                    <a:pt x="3435" y="147"/>
                  </a:lnTo>
                  <a:lnTo>
                    <a:pt x="3463" y="126"/>
                  </a:lnTo>
                  <a:lnTo>
                    <a:pt x="3492" y="106"/>
                  </a:lnTo>
                  <a:lnTo>
                    <a:pt x="3521" y="89"/>
                  </a:lnTo>
                  <a:lnTo>
                    <a:pt x="3551" y="72"/>
                  </a:lnTo>
                  <a:lnTo>
                    <a:pt x="3581" y="58"/>
                  </a:lnTo>
                  <a:lnTo>
                    <a:pt x="3612" y="45"/>
                  </a:lnTo>
                  <a:lnTo>
                    <a:pt x="3643" y="34"/>
                  </a:lnTo>
                  <a:lnTo>
                    <a:pt x="3675" y="25"/>
                  </a:lnTo>
                  <a:lnTo>
                    <a:pt x="3707" y="16"/>
                  </a:lnTo>
                  <a:lnTo>
                    <a:pt x="3739" y="10"/>
                  </a:lnTo>
                  <a:lnTo>
                    <a:pt x="3771" y="5"/>
                  </a:lnTo>
                  <a:lnTo>
                    <a:pt x="3804" y="2"/>
                  </a:lnTo>
                  <a:lnTo>
                    <a:pt x="3837" y="0"/>
                  </a:lnTo>
                  <a:lnTo>
                    <a:pt x="3870" y="0"/>
                  </a:lnTo>
                  <a:lnTo>
                    <a:pt x="3903" y="1"/>
                  </a:lnTo>
                  <a:lnTo>
                    <a:pt x="3935" y="4"/>
                  </a:lnTo>
                  <a:lnTo>
                    <a:pt x="3967" y="8"/>
                  </a:lnTo>
                  <a:lnTo>
                    <a:pt x="3999" y="14"/>
                  </a:lnTo>
                  <a:lnTo>
                    <a:pt x="4031" y="22"/>
                  </a:lnTo>
                  <a:lnTo>
                    <a:pt x="4062" y="31"/>
                  </a:lnTo>
                  <a:lnTo>
                    <a:pt x="4094" y="41"/>
                  </a:lnTo>
                  <a:lnTo>
                    <a:pt x="4125" y="54"/>
                  </a:lnTo>
                  <a:lnTo>
                    <a:pt x="4155" y="67"/>
                  </a:lnTo>
                  <a:lnTo>
                    <a:pt x="4184" y="82"/>
                  </a:lnTo>
                  <a:lnTo>
                    <a:pt x="4213" y="98"/>
                  </a:lnTo>
                  <a:lnTo>
                    <a:pt x="4241" y="117"/>
                  </a:lnTo>
                  <a:lnTo>
                    <a:pt x="4268" y="135"/>
                  </a:lnTo>
                  <a:lnTo>
                    <a:pt x="4295" y="157"/>
                  </a:lnTo>
                  <a:lnTo>
                    <a:pt x="4319" y="179"/>
                  </a:lnTo>
                  <a:lnTo>
                    <a:pt x="4344" y="203"/>
                  </a:lnTo>
                  <a:lnTo>
                    <a:pt x="4368" y="229"/>
                  </a:lnTo>
                  <a:lnTo>
                    <a:pt x="4390" y="255"/>
                  </a:lnTo>
                  <a:lnTo>
                    <a:pt x="4390" y="255"/>
                  </a:lnTo>
                  <a:lnTo>
                    <a:pt x="4412" y="283"/>
                  </a:lnTo>
                  <a:lnTo>
                    <a:pt x="4430" y="312"/>
                  </a:lnTo>
                  <a:lnTo>
                    <a:pt x="4449" y="341"/>
                  </a:lnTo>
                  <a:lnTo>
                    <a:pt x="4464" y="371"/>
                  </a:lnTo>
                  <a:lnTo>
                    <a:pt x="4479" y="401"/>
                  </a:lnTo>
                  <a:lnTo>
                    <a:pt x="4492" y="432"/>
                  </a:lnTo>
                  <a:lnTo>
                    <a:pt x="4503" y="463"/>
                  </a:lnTo>
                  <a:lnTo>
                    <a:pt x="4513" y="495"/>
                  </a:lnTo>
                  <a:lnTo>
                    <a:pt x="4521" y="527"/>
                  </a:lnTo>
                  <a:lnTo>
                    <a:pt x="4528" y="559"/>
                  </a:lnTo>
                  <a:lnTo>
                    <a:pt x="4533" y="591"/>
                  </a:lnTo>
                  <a:lnTo>
                    <a:pt x="4536" y="624"/>
                  </a:lnTo>
                  <a:lnTo>
                    <a:pt x="4537" y="656"/>
                  </a:lnTo>
                  <a:lnTo>
                    <a:pt x="4538" y="690"/>
                  </a:lnTo>
                  <a:lnTo>
                    <a:pt x="4536" y="722"/>
                  </a:lnTo>
                  <a:lnTo>
                    <a:pt x="4534" y="755"/>
                  </a:lnTo>
                  <a:lnTo>
                    <a:pt x="4529" y="787"/>
                  </a:lnTo>
                  <a:lnTo>
                    <a:pt x="4522" y="819"/>
                  </a:lnTo>
                  <a:lnTo>
                    <a:pt x="4515" y="851"/>
                  </a:lnTo>
                  <a:lnTo>
                    <a:pt x="4507" y="882"/>
                  </a:lnTo>
                  <a:lnTo>
                    <a:pt x="4496" y="913"/>
                  </a:lnTo>
                  <a:lnTo>
                    <a:pt x="4484" y="944"/>
                  </a:lnTo>
                  <a:lnTo>
                    <a:pt x="4471" y="973"/>
                  </a:lnTo>
                  <a:lnTo>
                    <a:pt x="4455" y="1003"/>
                  </a:lnTo>
                  <a:lnTo>
                    <a:pt x="4439" y="1032"/>
                  </a:lnTo>
                  <a:lnTo>
                    <a:pt x="4421" y="1060"/>
                  </a:lnTo>
                  <a:lnTo>
                    <a:pt x="4401" y="1087"/>
                  </a:lnTo>
                  <a:lnTo>
                    <a:pt x="4381" y="1114"/>
                  </a:lnTo>
                  <a:lnTo>
                    <a:pt x="4358" y="1139"/>
                  </a:lnTo>
                  <a:lnTo>
                    <a:pt x="4334" y="1164"/>
                  </a:lnTo>
                  <a:lnTo>
                    <a:pt x="4309" y="1187"/>
                  </a:lnTo>
                  <a:lnTo>
                    <a:pt x="4282" y="1210"/>
                  </a:lnTo>
                  <a:lnTo>
                    <a:pt x="1102" y="3742"/>
                  </a:lnTo>
                  <a:lnTo>
                    <a:pt x="1074" y="3763"/>
                  </a:lnTo>
                  <a:lnTo>
                    <a:pt x="1046" y="3782"/>
                  </a:lnTo>
                  <a:lnTo>
                    <a:pt x="1017" y="3800"/>
                  </a:lnTo>
                  <a:lnTo>
                    <a:pt x="987" y="3815"/>
                  </a:lnTo>
                  <a:lnTo>
                    <a:pt x="957" y="3830"/>
                  </a:lnTo>
                  <a:lnTo>
                    <a:pt x="926" y="3843"/>
                  </a:lnTo>
                  <a:lnTo>
                    <a:pt x="894" y="3855"/>
                  </a:lnTo>
                  <a:lnTo>
                    <a:pt x="863" y="3864"/>
                  </a:lnTo>
                  <a:lnTo>
                    <a:pt x="831" y="3872"/>
                  </a:lnTo>
                  <a:lnTo>
                    <a:pt x="799" y="3879"/>
                  </a:lnTo>
                  <a:lnTo>
                    <a:pt x="766" y="3884"/>
                  </a:lnTo>
                  <a:lnTo>
                    <a:pt x="734" y="3887"/>
                  </a:lnTo>
                  <a:lnTo>
                    <a:pt x="700" y="3889"/>
                  </a:lnTo>
                  <a:lnTo>
                    <a:pt x="668" y="3889"/>
                  </a:lnTo>
                  <a:lnTo>
                    <a:pt x="635" y="3888"/>
                  </a:lnTo>
                  <a:lnTo>
                    <a:pt x="603" y="3885"/>
                  </a:lnTo>
                  <a:lnTo>
                    <a:pt x="571" y="3881"/>
                  </a:lnTo>
                  <a:lnTo>
                    <a:pt x="539" y="3874"/>
                  </a:lnTo>
                  <a:lnTo>
                    <a:pt x="507" y="3867"/>
                  </a:lnTo>
                  <a:lnTo>
                    <a:pt x="475" y="3858"/>
                  </a:lnTo>
                  <a:lnTo>
                    <a:pt x="443" y="3848"/>
                  </a:lnTo>
                  <a:lnTo>
                    <a:pt x="413" y="3835"/>
                  </a:lnTo>
                  <a:lnTo>
                    <a:pt x="383" y="3822"/>
                  </a:lnTo>
                  <a:lnTo>
                    <a:pt x="354" y="3806"/>
                  </a:lnTo>
                  <a:lnTo>
                    <a:pt x="325" y="3791"/>
                  </a:lnTo>
                  <a:lnTo>
                    <a:pt x="297" y="3772"/>
                  </a:lnTo>
                  <a:lnTo>
                    <a:pt x="269" y="3752"/>
                  </a:lnTo>
                  <a:lnTo>
                    <a:pt x="243" y="3732"/>
                  </a:lnTo>
                  <a:lnTo>
                    <a:pt x="218" y="3710"/>
                  </a:lnTo>
                  <a:lnTo>
                    <a:pt x="194" y="3686"/>
                  </a:lnTo>
                  <a:lnTo>
                    <a:pt x="170" y="3660"/>
                  </a:lnTo>
                  <a:lnTo>
                    <a:pt x="147" y="36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>
              <a:off x="2357" y="2093"/>
              <a:ext cx="842" cy="508"/>
            </a:xfrm>
            <a:custGeom>
              <a:avLst/>
              <a:gdLst>
                <a:gd name="T0" fmla="*/ 77 w 5054"/>
                <a:gd name="T1" fmla="*/ 365 h 3050"/>
                <a:gd name="T2" fmla="*/ 131 w 5054"/>
                <a:gd name="T3" fmla="*/ 278 h 3050"/>
                <a:gd name="T4" fmla="*/ 196 w 5054"/>
                <a:gd name="T5" fmla="*/ 201 h 3050"/>
                <a:gd name="T6" fmla="*/ 272 w 5054"/>
                <a:gd name="T7" fmla="*/ 136 h 3050"/>
                <a:gd name="T8" fmla="*/ 354 w 5054"/>
                <a:gd name="T9" fmla="*/ 83 h 3050"/>
                <a:gd name="T10" fmla="*/ 443 w 5054"/>
                <a:gd name="T11" fmla="*/ 43 h 3050"/>
                <a:gd name="T12" fmla="*/ 537 w 5054"/>
                <a:gd name="T13" fmla="*/ 15 h 3050"/>
                <a:gd name="T14" fmla="*/ 634 w 5054"/>
                <a:gd name="T15" fmla="*/ 1 h 3050"/>
                <a:gd name="T16" fmla="*/ 734 w 5054"/>
                <a:gd name="T17" fmla="*/ 1 h 3050"/>
                <a:gd name="T18" fmla="*/ 832 w 5054"/>
                <a:gd name="T19" fmla="*/ 17 h 3050"/>
                <a:gd name="T20" fmla="*/ 931 w 5054"/>
                <a:gd name="T21" fmla="*/ 48 h 3050"/>
                <a:gd name="T22" fmla="*/ 4690 w 5054"/>
                <a:gd name="T23" fmla="*/ 1769 h 3050"/>
                <a:gd name="T24" fmla="*/ 4777 w 5054"/>
                <a:gd name="T25" fmla="*/ 1823 h 3050"/>
                <a:gd name="T26" fmla="*/ 4853 w 5054"/>
                <a:gd name="T27" fmla="*/ 1888 h 3050"/>
                <a:gd name="T28" fmla="*/ 4919 w 5054"/>
                <a:gd name="T29" fmla="*/ 1963 h 3050"/>
                <a:gd name="T30" fmla="*/ 4971 w 5054"/>
                <a:gd name="T31" fmla="*/ 2046 h 3050"/>
                <a:gd name="T32" fmla="*/ 5012 w 5054"/>
                <a:gd name="T33" fmla="*/ 2135 h 3050"/>
                <a:gd name="T34" fmla="*/ 5039 w 5054"/>
                <a:gd name="T35" fmla="*/ 2229 h 3050"/>
                <a:gd name="T36" fmla="*/ 5053 w 5054"/>
                <a:gd name="T37" fmla="*/ 2326 h 3050"/>
                <a:gd name="T38" fmla="*/ 5053 w 5054"/>
                <a:gd name="T39" fmla="*/ 2426 h 3050"/>
                <a:gd name="T40" fmla="*/ 5038 w 5054"/>
                <a:gd name="T41" fmla="*/ 2524 h 3050"/>
                <a:gd name="T42" fmla="*/ 5007 w 5054"/>
                <a:gd name="T43" fmla="*/ 2623 h 3050"/>
                <a:gd name="T44" fmla="*/ 4978 w 5054"/>
                <a:gd name="T45" fmla="*/ 2686 h 3050"/>
                <a:gd name="T46" fmla="*/ 4924 w 5054"/>
                <a:gd name="T47" fmla="*/ 2773 h 3050"/>
                <a:gd name="T48" fmla="*/ 4858 w 5054"/>
                <a:gd name="T49" fmla="*/ 2849 h 3050"/>
                <a:gd name="T50" fmla="*/ 4784 w 5054"/>
                <a:gd name="T51" fmla="*/ 2915 h 3050"/>
                <a:gd name="T52" fmla="*/ 4701 w 5054"/>
                <a:gd name="T53" fmla="*/ 2967 h 3050"/>
                <a:gd name="T54" fmla="*/ 4612 w 5054"/>
                <a:gd name="T55" fmla="*/ 3008 h 3050"/>
                <a:gd name="T56" fmla="*/ 4518 w 5054"/>
                <a:gd name="T57" fmla="*/ 3035 h 3050"/>
                <a:gd name="T58" fmla="*/ 4420 w 5054"/>
                <a:gd name="T59" fmla="*/ 3049 h 3050"/>
                <a:gd name="T60" fmla="*/ 4322 w 5054"/>
                <a:gd name="T61" fmla="*/ 3048 h 3050"/>
                <a:gd name="T62" fmla="*/ 4222 w 5054"/>
                <a:gd name="T63" fmla="*/ 3034 h 3050"/>
                <a:gd name="T64" fmla="*/ 4125 w 5054"/>
                <a:gd name="T65" fmla="*/ 3003 h 3050"/>
                <a:gd name="T66" fmla="*/ 365 w 5054"/>
                <a:gd name="T67" fmla="*/ 1281 h 3050"/>
                <a:gd name="T68" fmla="*/ 278 w 5054"/>
                <a:gd name="T69" fmla="*/ 1227 h 3050"/>
                <a:gd name="T70" fmla="*/ 202 w 5054"/>
                <a:gd name="T71" fmla="*/ 1162 h 3050"/>
                <a:gd name="T72" fmla="*/ 137 w 5054"/>
                <a:gd name="T73" fmla="*/ 1088 h 3050"/>
                <a:gd name="T74" fmla="*/ 84 w 5054"/>
                <a:gd name="T75" fmla="*/ 1005 h 3050"/>
                <a:gd name="T76" fmla="*/ 44 w 5054"/>
                <a:gd name="T77" fmla="*/ 916 h 3050"/>
                <a:gd name="T78" fmla="*/ 16 w 5054"/>
                <a:gd name="T79" fmla="*/ 821 h 3050"/>
                <a:gd name="T80" fmla="*/ 2 w 5054"/>
                <a:gd name="T81" fmla="*/ 724 h 3050"/>
                <a:gd name="T82" fmla="*/ 2 w 5054"/>
                <a:gd name="T83" fmla="*/ 625 h 3050"/>
                <a:gd name="T84" fmla="*/ 18 w 5054"/>
                <a:gd name="T85" fmla="*/ 525 h 3050"/>
                <a:gd name="T86" fmla="*/ 48 w 5054"/>
                <a:gd name="T87" fmla="*/ 428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54" h="3050">
                  <a:moveTo>
                    <a:pt x="61" y="396"/>
                  </a:moveTo>
                  <a:lnTo>
                    <a:pt x="61" y="396"/>
                  </a:lnTo>
                  <a:lnTo>
                    <a:pt x="77" y="365"/>
                  </a:lnTo>
                  <a:lnTo>
                    <a:pt x="93" y="335"/>
                  </a:lnTo>
                  <a:lnTo>
                    <a:pt x="112" y="306"/>
                  </a:lnTo>
                  <a:lnTo>
                    <a:pt x="131" y="278"/>
                  </a:lnTo>
                  <a:lnTo>
                    <a:pt x="152" y="251"/>
                  </a:lnTo>
                  <a:lnTo>
                    <a:pt x="173" y="226"/>
                  </a:lnTo>
                  <a:lnTo>
                    <a:pt x="196" y="201"/>
                  </a:lnTo>
                  <a:lnTo>
                    <a:pt x="220" y="178"/>
                  </a:lnTo>
                  <a:lnTo>
                    <a:pt x="246" y="156"/>
                  </a:lnTo>
                  <a:lnTo>
                    <a:pt x="272" y="136"/>
                  </a:lnTo>
                  <a:lnTo>
                    <a:pt x="298" y="117"/>
                  </a:lnTo>
                  <a:lnTo>
                    <a:pt x="326" y="99"/>
                  </a:lnTo>
                  <a:lnTo>
                    <a:pt x="354" y="83"/>
                  </a:lnTo>
                  <a:lnTo>
                    <a:pt x="383" y="68"/>
                  </a:lnTo>
                  <a:lnTo>
                    <a:pt x="413" y="55"/>
                  </a:lnTo>
                  <a:lnTo>
                    <a:pt x="443" y="43"/>
                  </a:lnTo>
                  <a:lnTo>
                    <a:pt x="474" y="32"/>
                  </a:lnTo>
                  <a:lnTo>
                    <a:pt x="505" y="23"/>
                  </a:lnTo>
                  <a:lnTo>
                    <a:pt x="537" y="15"/>
                  </a:lnTo>
                  <a:lnTo>
                    <a:pt x="569" y="9"/>
                  </a:lnTo>
                  <a:lnTo>
                    <a:pt x="602" y="4"/>
                  </a:lnTo>
                  <a:lnTo>
                    <a:pt x="634" y="1"/>
                  </a:lnTo>
                  <a:lnTo>
                    <a:pt x="667" y="0"/>
                  </a:lnTo>
                  <a:lnTo>
                    <a:pt x="701" y="0"/>
                  </a:lnTo>
                  <a:lnTo>
                    <a:pt x="734" y="1"/>
                  </a:lnTo>
                  <a:lnTo>
                    <a:pt x="767" y="5"/>
                  </a:lnTo>
                  <a:lnTo>
                    <a:pt x="800" y="10"/>
                  </a:lnTo>
                  <a:lnTo>
                    <a:pt x="832" y="17"/>
                  </a:lnTo>
                  <a:lnTo>
                    <a:pt x="865" y="25"/>
                  </a:lnTo>
                  <a:lnTo>
                    <a:pt x="899" y="35"/>
                  </a:lnTo>
                  <a:lnTo>
                    <a:pt x="931" y="48"/>
                  </a:lnTo>
                  <a:lnTo>
                    <a:pt x="963" y="61"/>
                  </a:lnTo>
                  <a:lnTo>
                    <a:pt x="4658" y="1754"/>
                  </a:lnTo>
                  <a:lnTo>
                    <a:pt x="4690" y="1769"/>
                  </a:lnTo>
                  <a:lnTo>
                    <a:pt x="4720" y="1786"/>
                  </a:lnTo>
                  <a:lnTo>
                    <a:pt x="4749" y="1803"/>
                  </a:lnTo>
                  <a:lnTo>
                    <a:pt x="4777" y="1823"/>
                  </a:lnTo>
                  <a:lnTo>
                    <a:pt x="4804" y="1844"/>
                  </a:lnTo>
                  <a:lnTo>
                    <a:pt x="4828" y="1865"/>
                  </a:lnTo>
                  <a:lnTo>
                    <a:pt x="4853" y="1888"/>
                  </a:lnTo>
                  <a:lnTo>
                    <a:pt x="4876" y="1912"/>
                  </a:lnTo>
                  <a:lnTo>
                    <a:pt x="4898" y="1937"/>
                  </a:lnTo>
                  <a:lnTo>
                    <a:pt x="4919" y="1963"/>
                  </a:lnTo>
                  <a:lnTo>
                    <a:pt x="4937" y="1990"/>
                  </a:lnTo>
                  <a:lnTo>
                    <a:pt x="4955" y="2018"/>
                  </a:lnTo>
                  <a:lnTo>
                    <a:pt x="4971" y="2046"/>
                  </a:lnTo>
                  <a:lnTo>
                    <a:pt x="4986" y="2075"/>
                  </a:lnTo>
                  <a:lnTo>
                    <a:pt x="4999" y="2105"/>
                  </a:lnTo>
                  <a:lnTo>
                    <a:pt x="5012" y="2135"/>
                  </a:lnTo>
                  <a:lnTo>
                    <a:pt x="5022" y="2166"/>
                  </a:lnTo>
                  <a:lnTo>
                    <a:pt x="5031" y="2197"/>
                  </a:lnTo>
                  <a:lnTo>
                    <a:pt x="5039" y="2229"/>
                  </a:lnTo>
                  <a:lnTo>
                    <a:pt x="5045" y="2261"/>
                  </a:lnTo>
                  <a:lnTo>
                    <a:pt x="5050" y="2293"/>
                  </a:lnTo>
                  <a:lnTo>
                    <a:pt x="5053" y="2326"/>
                  </a:lnTo>
                  <a:lnTo>
                    <a:pt x="5054" y="2359"/>
                  </a:lnTo>
                  <a:lnTo>
                    <a:pt x="5054" y="2393"/>
                  </a:lnTo>
                  <a:lnTo>
                    <a:pt x="5053" y="2426"/>
                  </a:lnTo>
                  <a:lnTo>
                    <a:pt x="5049" y="2459"/>
                  </a:lnTo>
                  <a:lnTo>
                    <a:pt x="5044" y="2492"/>
                  </a:lnTo>
                  <a:lnTo>
                    <a:pt x="5038" y="2524"/>
                  </a:lnTo>
                  <a:lnTo>
                    <a:pt x="5029" y="2557"/>
                  </a:lnTo>
                  <a:lnTo>
                    <a:pt x="5019" y="2590"/>
                  </a:lnTo>
                  <a:lnTo>
                    <a:pt x="5007" y="2623"/>
                  </a:lnTo>
                  <a:lnTo>
                    <a:pt x="4993" y="2655"/>
                  </a:lnTo>
                  <a:lnTo>
                    <a:pt x="4993" y="2655"/>
                  </a:lnTo>
                  <a:lnTo>
                    <a:pt x="4978" y="2686"/>
                  </a:lnTo>
                  <a:lnTo>
                    <a:pt x="4961" y="2716"/>
                  </a:lnTo>
                  <a:lnTo>
                    <a:pt x="4943" y="2745"/>
                  </a:lnTo>
                  <a:lnTo>
                    <a:pt x="4924" y="2773"/>
                  </a:lnTo>
                  <a:lnTo>
                    <a:pt x="4903" y="2800"/>
                  </a:lnTo>
                  <a:lnTo>
                    <a:pt x="4881" y="2825"/>
                  </a:lnTo>
                  <a:lnTo>
                    <a:pt x="4858" y="2849"/>
                  </a:lnTo>
                  <a:lnTo>
                    <a:pt x="4835" y="2872"/>
                  </a:lnTo>
                  <a:lnTo>
                    <a:pt x="4810" y="2894"/>
                  </a:lnTo>
                  <a:lnTo>
                    <a:pt x="4784" y="2915"/>
                  </a:lnTo>
                  <a:lnTo>
                    <a:pt x="4757" y="2933"/>
                  </a:lnTo>
                  <a:lnTo>
                    <a:pt x="4730" y="2951"/>
                  </a:lnTo>
                  <a:lnTo>
                    <a:pt x="4701" y="2967"/>
                  </a:lnTo>
                  <a:lnTo>
                    <a:pt x="4672" y="2982"/>
                  </a:lnTo>
                  <a:lnTo>
                    <a:pt x="4642" y="2995"/>
                  </a:lnTo>
                  <a:lnTo>
                    <a:pt x="4612" y="3008"/>
                  </a:lnTo>
                  <a:lnTo>
                    <a:pt x="4581" y="3018"/>
                  </a:lnTo>
                  <a:lnTo>
                    <a:pt x="4550" y="3028"/>
                  </a:lnTo>
                  <a:lnTo>
                    <a:pt x="4518" y="3035"/>
                  </a:lnTo>
                  <a:lnTo>
                    <a:pt x="4485" y="3041"/>
                  </a:lnTo>
                  <a:lnTo>
                    <a:pt x="4453" y="3046"/>
                  </a:lnTo>
                  <a:lnTo>
                    <a:pt x="4420" y="3049"/>
                  </a:lnTo>
                  <a:lnTo>
                    <a:pt x="4388" y="3050"/>
                  </a:lnTo>
                  <a:lnTo>
                    <a:pt x="4355" y="3050"/>
                  </a:lnTo>
                  <a:lnTo>
                    <a:pt x="4322" y="3048"/>
                  </a:lnTo>
                  <a:lnTo>
                    <a:pt x="4289" y="3045"/>
                  </a:lnTo>
                  <a:lnTo>
                    <a:pt x="4255" y="3040"/>
                  </a:lnTo>
                  <a:lnTo>
                    <a:pt x="4222" y="3034"/>
                  </a:lnTo>
                  <a:lnTo>
                    <a:pt x="4189" y="3025"/>
                  </a:lnTo>
                  <a:lnTo>
                    <a:pt x="4157" y="3015"/>
                  </a:lnTo>
                  <a:lnTo>
                    <a:pt x="4125" y="3003"/>
                  </a:lnTo>
                  <a:lnTo>
                    <a:pt x="4093" y="2989"/>
                  </a:lnTo>
                  <a:lnTo>
                    <a:pt x="397" y="1297"/>
                  </a:lnTo>
                  <a:lnTo>
                    <a:pt x="365" y="1281"/>
                  </a:lnTo>
                  <a:lnTo>
                    <a:pt x="335" y="1265"/>
                  </a:lnTo>
                  <a:lnTo>
                    <a:pt x="306" y="1246"/>
                  </a:lnTo>
                  <a:lnTo>
                    <a:pt x="278" y="1227"/>
                  </a:lnTo>
                  <a:lnTo>
                    <a:pt x="252" y="1207"/>
                  </a:lnTo>
                  <a:lnTo>
                    <a:pt x="226" y="1185"/>
                  </a:lnTo>
                  <a:lnTo>
                    <a:pt x="202" y="1162"/>
                  </a:lnTo>
                  <a:lnTo>
                    <a:pt x="179" y="1138"/>
                  </a:lnTo>
                  <a:lnTo>
                    <a:pt x="158" y="1113"/>
                  </a:lnTo>
                  <a:lnTo>
                    <a:pt x="137" y="1088"/>
                  </a:lnTo>
                  <a:lnTo>
                    <a:pt x="118" y="1061"/>
                  </a:lnTo>
                  <a:lnTo>
                    <a:pt x="101" y="1033"/>
                  </a:lnTo>
                  <a:lnTo>
                    <a:pt x="84" y="1005"/>
                  </a:lnTo>
                  <a:lnTo>
                    <a:pt x="69" y="976"/>
                  </a:lnTo>
                  <a:lnTo>
                    <a:pt x="55" y="946"/>
                  </a:lnTo>
                  <a:lnTo>
                    <a:pt x="44" y="916"/>
                  </a:lnTo>
                  <a:lnTo>
                    <a:pt x="32" y="885"/>
                  </a:lnTo>
                  <a:lnTo>
                    <a:pt x="24" y="854"/>
                  </a:lnTo>
                  <a:lnTo>
                    <a:pt x="16" y="821"/>
                  </a:lnTo>
                  <a:lnTo>
                    <a:pt x="10" y="789"/>
                  </a:lnTo>
                  <a:lnTo>
                    <a:pt x="5" y="756"/>
                  </a:lnTo>
                  <a:lnTo>
                    <a:pt x="2" y="724"/>
                  </a:lnTo>
                  <a:lnTo>
                    <a:pt x="0" y="691"/>
                  </a:lnTo>
                  <a:lnTo>
                    <a:pt x="0" y="658"/>
                  </a:lnTo>
                  <a:lnTo>
                    <a:pt x="2" y="625"/>
                  </a:lnTo>
                  <a:lnTo>
                    <a:pt x="5" y="591"/>
                  </a:lnTo>
                  <a:lnTo>
                    <a:pt x="11" y="558"/>
                  </a:lnTo>
                  <a:lnTo>
                    <a:pt x="18" y="525"/>
                  </a:lnTo>
                  <a:lnTo>
                    <a:pt x="26" y="493"/>
                  </a:lnTo>
                  <a:lnTo>
                    <a:pt x="37" y="460"/>
                  </a:lnTo>
                  <a:lnTo>
                    <a:pt x="48" y="428"/>
                  </a:lnTo>
                  <a:lnTo>
                    <a:pt x="61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auto">
            <a:xfrm>
              <a:off x="2800" y="2399"/>
              <a:ext cx="411" cy="878"/>
            </a:xfrm>
            <a:custGeom>
              <a:avLst/>
              <a:gdLst>
                <a:gd name="T0" fmla="*/ 461 w 2466"/>
                <a:gd name="T1" fmla="*/ 5233 h 5268"/>
                <a:gd name="T2" fmla="*/ 367 w 2466"/>
                <a:gd name="T3" fmla="*/ 5193 h 5268"/>
                <a:gd name="T4" fmla="*/ 281 w 2466"/>
                <a:gd name="T5" fmla="*/ 5140 h 5268"/>
                <a:gd name="T6" fmla="*/ 205 w 2466"/>
                <a:gd name="T7" fmla="*/ 5077 h 5268"/>
                <a:gd name="T8" fmla="*/ 140 w 2466"/>
                <a:gd name="T9" fmla="*/ 5002 h 5268"/>
                <a:gd name="T10" fmla="*/ 87 w 2466"/>
                <a:gd name="T11" fmla="*/ 4920 h 5268"/>
                <a:gd name="T12" fmla="*/ 44 w 2466"/>
                <a:gd name="T13" fmla="*/ 4832 h 5268"/>
                <a:gd name="T14" fmla="*/ 16 w 2466"/>
                <a:gd name="T15" fmla="*/ 4738 h 5268"/>
                <a:gd name="T16" fmla="*/ 2 w 2466"/>
                <a:gd name="T17" fmla="*/ 4640 h 5268"/>
                <a:gd name="T18" fmla="*/ 1 w 2466"/>
                <a:gd name="T19" fmla="*/ 4540 h 5268"/>
                <a:gd name="T20" fmla="*/ 16 w 2466"/>
                <a:gd name="T21" fmla="*/ 4439 h 5268"/>
                <a:gd name="T22" fmla="*/ 1143 w 2466"/>
                <a:gd name="T23" fmla="*/ 461 h 5268"/>
                <a:gd name="T24" fmla="*/ 1183 w 2466"/>
                <a:gd name="T25" fmla="*/ 367 h 5268"/>
                <a:gd name="T26" fmla="*/ 1236 w 2466"/>
                <a:gd name="T27" fmla="*/ 281 h 5268"/>
                <a:gd name="T28" fmla="*/ 1300 w 2466"/>
                <a:gd name="T29" fmla="*/ 206 h 5268"/>
                <a:gd name="T30" fmla="*/ 1374 w 2466"/>
                <a:gd name="T31" fmla="*/ 140 h 5268"/>
                <a:gd name="T32" fmla="*/ 1456 w 2466"/>
                <a:gd name="T33" fmla="*/ 86 h 5268"/>
                <a:gd name="T34" fmla="*/ 1545 w 2466"/>
                <a:gd name="T35" fmla="*/ 45 h 5268"/>
                <a:gd name="T36" fmla="*/ 1638 w 2466"/>
                <a:gd name="T37" fmla="*/ 17 h 5268"/>
                <a:gd name="T38" fmla="*/ 1736 w 2466"/>
                <a:gd name="T39" fmla="*/ 2 h 5268"/>
                <a:gd name="T40" fmla="*/ 1837 w 2466"/>
                <a:gd name="T41" fmla="*/ 2 h 5268"/>
                <a:gd name="T42" fmla="*/ 1938 w 2466"/>
                <a:gd name="T43" fmla="*/ 17 h 5268"/>
                <a:gd name="T44" fmla="*/ 2005 w 2466"/>
                <a:gd name="T45" fmla="*/ 36 h 5268"/>
                <a:gd name="T46" fmla="*/ 2099 w 2466"/>
                <a:gd name="T47" fmla="*/ 76 h 5268"/>
                <a:gd name="T48" fmla="*/ 2185 w 2466"/>
                <a:gd name="T49" fmla="*/ 129 h 5268"/>
                <a:gd name="T50" fmla="*/ 2261 w 2466"/>
                <a:gd name="T51" fmla="*/ 193 h 5268"/>
                <a:gd name="T52" fmla="*/ 2326 w 2466"/>
                <a:gd name="T53" fmla="*/ 267 h 5268"/>
                <a:gd name="T54" fmla="*/ 2380 w 2466"/>
                <a:gd name="T55" fmla="*/ 348 h 5268"/>
                <a:gd name="T56" fmla="*/ 2421 w 2466"/>
                <a:gd name="T57" fmla="*/ 437 h 5268"/>
                <a:gd name="T58" fmla="*/ 2449 w 2466"/>
                <a:gd name="T59" fmla="*/ 531 h 5268"/>
                <a:gd name="T60" fmla="*/ 2465 w 2466"/>
                <a:gd name="T61" fmla="*/ 629 h 5268"/>
                <a:gd name="T62" fmla="*/ 2465 w 2466"/>
                <a:gd name="T63" fmla="*/ 730 h 5268"/>
                <a:gd name="T64" fmla="*/ 2449 w 2466"/>
                <a:gd name="T65" fmla="*/ 830 h 5268"/>
                <a:gd name="T66" fmla="*/ 1323 w 2466"/>
                <a:gd name="T67" fmla="*/ 4807 h 5268"/>
                <a:gd name="T68" fmla="*/ 1282 w 2466"/>
                <a:gd name="T69" fmla="*/ 4902 h 5268"/>
                <a:gd name="T70" fmla="*/ 1230 w 2466"/>
                <a:gd name="T71" fmla="*/ 4988 h 5268"/>
                <a:gd name="T72" fmla="*/ 1165 w 2466"/>
                <a:gd name="T73" fmla="*/ 5063 h 5268"/>
                <a:gd name="T74" fmla="*/ 1092 w 2466"/>
                <a:gd name="T75" fmla="*/ 5128 h 5268"/>
                <a:gd name="T76" fmla="*/ 1010 w 2466"/>
                <a:gd name="T77" fmla="*/ 5182 h 5268"/>
                <a:gd name="T78" fmla="*/ 922 w 2466"/>
                <a:gd name="T79" fmla="*/ 5224 h 5268"/>
                <a:gd name="T80" fmla="*/ 828 w 2466"/>
                <a:gd name="T81" fmla="*/ 5252 h 5268"/>
                <a:gd name="T82" fmla="*/ 729 w 2466"/>
                <a:gd name="T83" fmla="*/ 5267 h 5268"/>
                <a:gd name="T84" fmla="*/ 629 w 2466"/>
                <a:gd name="T85" fmla="*/ 5267 h 5268"/>
                <a:gd name="T86" fmla="*/ 528 w 2466"/>
                <a:gd name="T87" fmla="*/ 5252 h 5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66" h="5268">
                  <a:moveTo>
                    <a:pt x="494" y="5243"/>
                  </a:moveTo>
                  <a:lnTo>
                    <a:pt x="494" y="5243"/>
                  </a:lnTo>
                  <a:lnTo>
                    <a:pt x="461" y="5233"/>
                  </a:lnTo>
                  <a:lnTo>
                    <a:pt x="429" y="5221"/>
                  </a:lnTo>
                  <a:lnTo>
                    <a:pt x="397" y="5208"/>
                  </a:lnTo>
                  <a:lnTo>
                    <a:pt x="367" y="5193"/>
                  </a:lnTo>
                  <a:lnTo>
                    <a:pt x="337" y="5176"/>
                  </a:lnTo>
                  <a:lnTo>
                    <a:pt x="309" y="5159"/>
                  </a:lnTo>
                  <a:lnTo>
                    <a:pt x="281" y="5140"/>
                  </a:lnTo>
                  <a:lnTo>
                    <a:pt x="255" y="5120"/>
                  </a:lnTo>
                  <a:lnTo>
                    <a:pt x="230" y="5098"/>
                  </a:lnTo>
                  <a:lnTo>
                    <a:pt x="205" y="5077"/>
                  </a:lnTo>
                  <a:lnTo>
                    <a:pt x="182" y="5053"/>
                  </a:lnTo>
                  <a:lnTo>
                    <a:pt x="160" y="5028"/>
                  </a:lnTo>
                  <a:lnTo>
                    <a:pt x="140" y="5002"/>
                  </a:lnTo>
                  <a:lnTo>
                    <a:pt x="121" y="4976"/>
                  </a:lnTo>
                  <a:lnTo>
                    <a:pt x="103" y="4949"/>
                  </a:lnTo>
                  <a:lnTo>
                    <a:pt x="87" y="4920"/>
                  </a:lnTo>
                  <a:lnTo>
                    <a:pt x="71" y="4892"/>
                  </a:lnTo>
                  <a:lnTo>
                    <a:pt x="57" y="4862"/>
                  </a:lnTo>
                  <a:lnTo>
                    <a:pt x="44" y="4832"/>
                  </a:lnTo>
                  <a:lnTo>
                    <a:pt x="34" y="4801"/>
                  </a:lnTo>
                  <a:lnTo>
                    <a:pt x="25" y="4770"/>
                  </a:lnTo>
                  <a:lnTo>
                    <a:pt x="16" y="4738"/>
                  </a:lnTo>
                  <a:lnTo>
                    <a:pt x="10" y="4706"/>
                  </a:lnTo>
                  <a:lnTo>
                    <a:pt x="5" y="4673"/>
                  </a:lnTo>
                  <a:lnTo>
                    <a:pt x="2" y="4640"/>
                  </a:lnTo>
                  <a:lnTo>
                    <a:pt x="0" y="4606"/>
                  </a:lnTo>
                  <a:lnTo>
                    <a:pt x="0" y="4573"/>
                  </a:lnTo>
                  <a:lnTo>
                    <a:pt x="1" y="4540"/>
                  </a:lnTo>
                  <a:lnTo>
                    <a:pt x="5" y="4506"/>
                  </a:lnTo>
                  <a:lnTo>
                    <a:pt x="9" y="4472"/>
                  </a:lnTo>
                  <a:lnTo>
                    <a:pt x="16" y="4439"/>
                  </a:lnTo>
                  <a:lnTo>
                    <a:pt x="25" y="4404"/>
                  </a:lnTo>
                  <a:lnTo>
                    <a:pt x="1132" y="495"/>
                  </a:lnTo>
                  <a:lnTo>
                    <a:pt x="1143" y="461"/>
                  </a:lnTo>
                  <a:lnTo>
                    <a:pt x="1155" y="428"/>
                  </a:lnTo>
                  <a:lnTo>
                    <a:pt x="1169" y="397"/>
                  </a:lnTo>
                  <a:lnTo>
                    <a:pt x="1183" y="367"/>
                  </a:lnTo>
                  <a:lnTo>
                    <a:pt x="1200" y="337"/>
                  </a:lnTo>
                  <a:lnTo>
                    <a:pt x="1217" y="309"/>
                  </a:lnTo>
                  <a:lnTo>
                    <a:pt x="1236" y="281"/>
                  </a:lnTo>
                  <a:lnTo>
                    <a:pt x="1256" y="255"/>
                  </a:lnTo>
                  <a:lnTo>
                    <a:pt x="1277" y="230"/>
                  </a:lnTo>
                  <a:lnTo>
                    <a:pt x="1300" y="206"/>
                  </a:lnTo>
                  <a:lnTo>
                    <a:pt x="1323" y="183"/>
                  </a:lnTo>
                  <a:lnTo>
                    <a:pt x="1348" y="161"/>
                  </a:lnTo>
                  <a:lnTo>
                    <a:pt x="1374" y="140"/>
                  </a:lnTo>
                  <a:lnTo>
                    <a:pt x="1400" y="122"/>
                  </a:lnTo>
                  <a:lnTo>
                    <a:pt x="1428" y="104"/>
                  </a:lnTo>
                  <a:lnTo>
                    <a:pt x="1456" y="86"/>
                  </a:lnTo>
                  <a:lnTo>
                    <a:pt x="1485" y="72"/>
                  </a:lnTo>
                  <a:lnTo>
                    <a:pt x="1514" y="57"/>
                  </a:lnTo>
                  <a:lnTo>
                    <a:pt x="1545" y="45"/>
                  </a:lnTo>
                  <a:lnTo>
                    <a:pt x="1575" y="35"/>
                  </a:lnTo>
                  <a:lnTo>
                    <a:pt x="1607" y="24"/>
                  </a:lnTo>
                  <a:lnTo>
                    <a:pt x="1638" y="17"/>
                  </a:lnTo>
                  <a:lnTo>
                    <a:pt x="1670" y="10"/>
                  </a:lnTo>
                  <a:lnTo>
                    <a:pt x="1703" y="6"/>
                  </a:lnTo>
                  <a:lnTo>
                    <a:pt x="1736" y="2"/>
                  </a:lnTo>
                  <a:lnTo>
                    <a:pt x="1769" y="0"/>
                  </a:lnTo>
                  <a:lnTo>
                    <a:pt x="1803" y="0"/>
                  </a:lnTo>
                  <a:lnTo>
                    <a:pt x="1837" y="2"/>
                  </a:lnTo>
                  <a:lnTo>
                    <a:pt x="1870" y="5"/>
                  </a:lnTo>
                  <a:lnTo>
                    <a:pt x="1904" y="10"/>
                  </a:lnTo>
                  <a:lnTo>
                    <a:pt x="1938" y="17"/>
                  </a:lnTo>
                  <a:lnTo>
                    <a:pt x="1971" y="25"/>
                  </a:lnTo>
                  <a:lnTo>
                    <a:pt x="1971" y="25"/>
                  </a:lnTo>
                  <a:lnTo>
                    <a:pt x="2005" y="36"/>
                  </a:lnTo>
                  <a:lnTo>
                    <a:pt x="2038" y="48"/>
                  </a:lnTo>
                  <a:lnTo>
                    <a:pt x="2069" y="62"/>
                  </a:lnTo>
                  <a:lnTo>
                    <a:pt x="2099" y="76"/>
                  </a:lnTo>
                  <a:lnTo>
                    <a:pt x="2129" y="93"/>
                  </a:lnTo>
                  <a:lnTo>
                    <a:pt x="2157" y="110"/>
                  </a:lnTo>
                  <a:lnTo>
                    <a:pt x="2185" y="129"/>
                  </a:lnTo>
                  <a:lnTo>
                    <a:pt x="2211" y="149"/>
                  </a:lnTo>
                  <a:lnTo>
                    <a:pt x="2237" y="170"/>
                  </a:lnTo>
                  <a:lnTo>
                    <a:pt x="2261" y="193"/>
                  </a:lnTo>
                  <a:lnTo>
                    <a:pt x="2283" y="216"/>
                  </a:lnTo>
                  <a:lnTo>
                    <a:pt x="2305" y="241"/>
                  </a:lnTo>
                  <a:lnTo>
                    <a:pt x="2326" y="267"/>
                  </a:lnTo>
                  <a:lnTo>
                    <a:pt x="2344" y="293"/>
                  </a:lnTo>
                  <a:lnTo>
                    <a:pt x="2363" y="321"/>
                  </a:lnTo>
                  <a:lnTo>
                    <a:pt x="2380" y="348"/>
                  </a:lnTo>
                  <a:lnTo>
                    <a:pt x="2394" y="377"/>
                  </a:lnTo>
                  <a:lnTo>
                    <a:pt x="2409" y="406"/>
                  </a:lnTo>
                  <a:lnTo>
                    <a:pt x="2421" y="437"/>
                  </a:lnTo>
                  <a:lnTo>
                    <a:pt x="2431" y="468"/>
                  </a:lnTo>
                  <a:lnTo>
                    <a:pt x="2442" y="499"/>
                  </a:lnTo>
                  <a:lnTo>
                    <a:pt x="2449" y="531"/>
                  </a:lnTo>
                  <a:lnTo>
                    <a:pt x="2456" y="563"/>
                  </a:lnTo>
                  <a:lnTo>
                    <a:pt x="2461" y="596"/>
                  </a:lnTo>
                  <a:lnTo>
                    <a:pt x="2465" y="629"/>
                  </a:lnTo>
                  <a:lnTo>
                    <a:pt x="2466" y="662"/>
                  </a:lnTo>
                  <a:lnTo>
                    <a:pt x="2466" y="695"/>
                  </a:lnTo>
                  <a:lnTo>
                    <a:pt x="2465" y="730"/>
                  </a:lnTo>
                  <a:lnTo>
                    <a:pt x="2462" y="763"/>
                  </a:lnTo>
                  <a:lnTo>
                    <a:pt x="2456" y="797"/>
                  </a:lnTo>
                  <a:lnTo>
                    <a:pt x="2449" y="830"/>
                  </a:lnTo>
                  <a:lnTo>
                    <a:pt x="2441" y="864"/>
                  </a:lnTo>
                  <a:lnTo>
                    <a:pt x="1333" y="4774"/>
                  </a:lnTo>
                  <a:lnTo>
                    <a:pt x="1323" y="4807"/>
                  </a:lnTo>
                  <a:lnTo>
                    <a:pt x="1310" y="4841"/>
                  </a:lnTo>
                  <a:lnTo>
                    <a:pt x="1297" y="4872"/>
                  </a:lnTo>
                  <a:lnTo>
                    <a:pt x="1282" y="4902"/>
                  </a:lnTo>
                  <a:lnTo>
                    <a:pt x="1266" y="4932"/>
                  </a:lnTo>
                  <a:lnTo>
                    <a:pt x="1248" y="4960"/>
                  </a:lnTo>
                  <a:lnTo>
                    <a:pt x="1230" y="4988"/>
                  </a:lnTo>
                  <a:lnTo>
                    <a:pt x="1210" y="5014"/>
                  </a:lnTo>
                  <a:lnTo>
                    <a:pt x="1188" y="5039"/>
                  </a:lnTo>
                  <a:lnTo>
                    <a:pt x="1165" y="5063"/>
                  </a:lnTo>
                  <a:lnTo>
                    <a:pt x="1143" y="5086"/>
                  </a:lnTo>
                  <a:lnTo>
                    <a:pt x="1118" y="5108"/>
                  </a:lnTo>
                  <a:lnTo>
                    <a:pt x="1092" y="5128"/>
                  </a:lnTo>
                  <a:lnTo>
                    <a:pt x="1066" y="5147"/>
                  </a:lnTo>
                  <a:lnTo>
                    <a:pt x="1038" y="5166"/>
                  </a:lnTo>
                  <a:lnTo>
                    <a:pt x="1010" y="5182"/>
                  </a:lnTo>
                  <a:lnTo>
                    <a:pt x="981" y="5197"/>
                  </a:lnTo>
                  <a:lnTo>
                    <a:pt x="952" y="5211"/>
                  </a:lnTo>
                  <a:lnTo>
                    <a:pt x="922" y="5224"/>
                  </a:lnTo>
                  <a:lnTo>
                    <a:pt x="891" y="5234"/>
                  </a:lnTo>
                  <a:lnTo>
                    <a:pt x="860" y="5244"/>
                  </a:lnTo>
                  <a:lnTo>
                    <a:pt x="828" y="5252"/>
                  </a:lnTo>
                  <a:lnTo>
                    <a:pt x="796" y="5259"/>
                  </a:lnTo>
                  <a:lnTo>
                    <a:pt x="762" y="5263"/>
                  </a:lnTo>
                  <a:lnTo>
                    <a:pt x="729" y="5267"/>
                  </a:lnTo>
                  <a:lnTo>
                    <a:pt x="696" y="5268"/>
                  </a:lnTo>
                  <a:lnTo>
                    <a:pt x="663" y="5268"/>
                  </a:lnTo>
                  <a:lnTo>
                    <a:pt x="629" y="5267"/>
                  </a:lnTo>
                  <a:lnTo>
                    <a:pt x="596" y="5264"/>
                  </a:lnTo>
                  <a:lnTo>
                    <a:pt x="561" y="5259"/>
                  </a:lnTo>
                  <a:lnTo>
                    <a:pt x="528" y="5252"/>
                  </a:lnTo>
                  <a:lnTo>
                    <a:pt x="494" y="5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1995" y="1298"/>
              <a:ext cx="508" cy="430"/>
            </a:xfrm>
            <a:custGeom>
              <a:avLst/>
              <a:gdLst>
                <a:gd name="T0" fmla="*/ 2961 w 3047"/>
                <a:gd name="T1" fmla="*/ 207 h 2581"/>
                <a:gd name="T2" fmla="*/ 2997 w 3047"/>
                <a:gd name="T3" fmla="*/ 270 h 2581"/>
                <a:gd name="T4" fmla="*/ 3024 w 3047"/>
                <a:gd name="T5" fmla="*/ 337 h 2581"/>
                <a:gd name="T6" fmla="*/ 3041 w 3047"/>
                <a:gd name="T7" fmla="*/ 406 h 2581"/>
                <a:gd name="T8" fmla="*/ 3047 w 3047"/>
                <a:gd name="T9" fmla="*/ 476 h 2581"/>
                <a:gd name="T10" fmla="*/ 3043 w 3047"/>
                <a:gd name="T11" fmla="*/ 545 h 2581"/>
                <a:gd name="T12" fmla="*/ 3029 w 3047"/>
                <a:gd name="T13" fmla="*/ 614 h 2581"/>
                <a:gd name="T14" fmla="*/ 3006 w 3047"/>
                <a:gd name="T15" fmla="*/ 680 h 2581"/>
                <a:gd name="T16" fmla="*/ 2973 w 3047"/>
                <a:gd name="T17" fmla="*/ 743 h 2581"/>
                <a:gd name="T18" fmla="*/ 2931 w 3047"/>
                <a:gd name="T19" fmla="*/ 801 h 2581"/>
                <a:gd name="T20" fmla="*/ 2879 w 3047"/>
                <a:gd name="T21" fmla="*/ 853 h 2581"/>
                <a:gd name="T22" fmla="*/ 763 w 3047"/>
                <a:gd name="T23" fmla="*/ 2494 h 2581"/>
                <a:gd name="T24" fmla="*/ 700 w 3047"/>
                <a:gd name="T25" fmla="*/ 2531 h 2581"/>
                <a:gd name="T26" fmla="*/ 634 w 3047"/>
                <a:gd name="T27" fmla="*/ 2558 h 2581"/>
                <a:gd name="T28" fmla="*/ 564 w 3047"/>
                <a:gd name="T29" fmla="*/ 2574 h 2581"/>
                <a:gd name="T30" fmla="*/ 494 w 3047"/>
                <a:gd name="T31" fmla="*/ 2581 h 2581"/>
                <a:gd name="T32" fmla="*/ 424 w 3047"/>
                <a:gd name="T33" fmla="*/ 2577 h 2581"/>
                <a:gd name="T34" fmla="*/ 356 w 3047"/>
                <a:gd name="T35" fmla="*/ 2563 h 2581"/>
                <a:gd name="T36" fmla="*/ 290 w 3047"/>
                <a:gd name="T37" fmla="*/ 2539 h 2581"/>
                <a:gd name="T38" fmla="*/ 227 w 3047"/>
                <a:gd name="T39" fmla="*/ 2506 h 2581"/>
                <a:gd name="T40" fmla="*/ 169 w 3047"/>
                <a:gd name="T41" fmla="*/ 2464 h 2581"/>
                <a:gd name="T42" fmla="*/ 117 w 3047"/>
                <a:gd name="T43" fmla="*/ 2412 h 2581"/>
                <a:gd name="T44" fmla="*/ 87 w 3047"/>
                <a:gd name="T45" fmla="*/ 2372 h 2581"/>
                <a:gd name="T46" fmla="*/ 49 w 3047"/>
                <a:gd name="T47" fmla="*/ 2309 h 2581"/>
                <a:gd name="T48" fmla="*/ 23 w 3047"/>
                <a:gd name="T49" fmla="*/ 2243 h 2581"/>
                <a:gd name="T50" fmla="*/ 6 w 3047"/>
                <a:gd name="T51" fmla="*/ 2175 h 2581"/>
                <a:gd name="T52" fmla="*/ 0 w 3047"/>
                <a:gd name="T53" fmla="*/ 2104 h 2581"/>
                <a:gd name="T54" fmla="*/ 4 w 3047"/>
                <a:gd name="T55" fmla="*/ 2034 h 2581"/>
                <a:gd name="T56" fmla="*/ 17 w 3047"/>
                <a:gd name="T57" fmla="*/ 1965 h 2581"/>
                <a:gd name="T58" fmla="*/ 41 w 3047"/>
                <a:gd name="T59" fmla="*/ 1899 h 2581"/>
                <a:gd name="T60" fmla="*/ 74 w 3047"/>
                <a:gd name="T61" fmla="*/ 1837 h 2581"/>
                <a:gd name="T62" fmla="*/ 117 w 3047"/>
                <a:gd name="T63" fmla="*/ 1779 h 2581"/>
                <a:gd name="T64" fmla="*/ 169 w 3047"/>
                <a:gd name="T65" fmla="*/ 1727 h 2581"/>
                <a:gd name="T66" fmla="*/ 2284 w 3047"/>
                <a:gd name="T67" fmla="*/ 87 h 2581"/>
                <a:gd name="T68" fmla="*/ 2347 w 3047"/>
                <a:gd name="T69" fmla="*/ 49 h 2581"/>
                <a:gd name="T70" fmla="*/ 2414 w 3047"/>
                <a:gd name="T71" fmla="*/ 22 h 2581"/>
                <a:gd name="T72" fmla="*/ 2482 w 3047"/>
                <a:gd name="T73" fmla="*/ 6 h 2581"/>
                <a:gd name="T74" fmla="*/ 2553 w 3047"/>
                <a:gd name="T75" fmla="*/ 0 h 2581"/>
                <a:gd name="T76" fmla="*/ 2622 w 3047"/>
                <a:gd name="T77" fmla="*/ 4 h 2581"/>
                <a:gd name="T78" fmla="*/ 2691 w 3047"/>
                <a:gd name="T79" fmla="*/ 17 h 2581"/>
                <a:gd name="T80" fmla="*/ 2758 w 3047"/>
                <a:gd name="T81" fmla="*/ 41 h 2581"/>
                <a:gd name="T82" fmla="*/ 2820 w 3047"/>
                <a:gd name="T83" fmla="*/ 73 h 2581"/>
                <a:gd name="T84" fmla="*/ 2878 w 3047"/>
                <a:gd name="T85" fmla="*/ 116 h 2581"/>
                <a:gd name="T86" fmla="*/ 2930 w 3047"/>
                <a:gd name="T87" fmla="*/ 167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47" h="2581">
                  <a:moveTo>
                    <a:pt x="2945" y="187"/>
                  </a:moveTo>
                  <a:lnTo>
                    <a:pt x="2945" y="187"/>
                  </a:lnTo>
                  <a:lnTo>
                    <a:pt x="2961" y="207"/>
                  </a:lnTo>
                  <a:lnTo>
                    <a:pt x="2974" y="227"/>
                  </a:lnTo>
                  <a:lnTo>
                    <a:pt x="2987" y="249"/>
                  </a:lnTo>
                  <a:lnTo>
                    <a:pt x="2997" y="270"/>
                  </a:lnTo>
                  <a:lnTo>
                    <a:pt x="3007" y="292"/>
                  </a:lnTo>
                  <a:lnTo>
                    <a:pt x="3017" y="314"/>
                  </a:lnTo>
                  <a:lnTo>
                    <a:pt x="3024" y="337"/>
                  </a:lnTo>
                  <a:lnTo>
                    <a:pt x="3031" y="360"/>
                  </a:lnTo>
                  <a:lnTo>
                    <a:pt x="3036" y="383"/>
                  </a:lnTo>
                  <a:lnTo>
                    <a:pt x="3041" y="406"/>
                  </a:lnTo>
                  <a:lnTo>
                    <a:pt x="3044" y="429"/>
                  </a:lnTo>
                  <a:lnTo>
                    <a:pt x="3046" y="452"/>
                  </a:lnTo>
                  <a:lnTo>
                    <a:pt x="3047" y="476"/>
                  </a:lnTo>
                  <a:lnTo>
                    <a:pt x="3047" y="499"/>
                  </a:lnTo>
                  <a:lnTo>
                    <a:pt x="3046" y="523"/>
                  </a:lnTo>
                  <a:lnTo>
                    <a:pt x="3043" y="545"/>
                  </a:lnTo>
                  <a:lnTo>
                    <a:pt x="3040" y="568"/>
                  </a:lnTo>
                  <a:lnTo>
                    <a:pt x="3035" y="592"/>
                  </a:lnTo>
                  <a:lnTo>
                    <a:pt x="3029" y="614"/>
                  </a:lnTo>
                  <a:lnTo>
                    <a:pt x="3023" y="637"/>
                  </a:lnTo>
                  <a:lnTo>
                    <a:pt x="3015" y="658"/>
                  </a:lnTo>
                  <a:lnTo>
                    <a:pt x="3006" y="680"/>
                  </a:lnTo>
                  <a:lnTo>
                    <a:pt x="2996" y="702"/>
                  </a:lnTo>
                  <a:lnTo>
                    <a:pt x="2985" y="723"/>
                  </a:lnTo>
                  <a:lnTo>
                    <a:pt x="2973" y="743"/>
                  </a:lnTo>
                  <a:lnTo>
                    <a:pt x="2960" y="763"/>
                  </a:lnTo>
                  <a:lnTo>
                    <a:pt x="2945" y="783"/>
                  </a:lnTo>
                  <a:lnTo>
                    <a:pt x="2931" y="801"/>
                  </a:lnTo>
                  <a:lnTo>
                    <a:pt x="2914" y="819"/>
                  </a:lnTo>
                  <a:lnTo>
                    <a:pt x="2897" y="836"/>
                  </a:lnTo>
                  <a:lnTo>
                    <a:pt x="2879" y="853"/>
                  </a:lnTo>
                  <a:lnTo>
                    <a:pt x="2859" y="869"/>
                  </a:lnTo>
                  <a:lnTo>
                    <a:pt x="783" y="2479"/>
                  </a:lnTo>
                  <a:lnTo>
                    <a:pt x="763" y="2494"/>
                  </a:lnTo>
                  <a:lnTo>
                    <a:pt x="743" y="2507"/>
                  </a:lnTo>
                  <a:lnTo>
                    <a:pt x="722" y="2520"/>
                  </a:lnTo>
                  <a:lnTo>
                    <a:pt x="700" y="2531"/>
                  </a:lnTo>
                  <a:lnTo>
                    <a:pt x="678" y="2541"/>
                  </a:lnTo>
                  <a:lnTo>
                    <a:pt x="656" y="2550"/>
                  </a:lnTo>
                  <a:lnTo>
                    <a:pt x="634" y="2558"/>
                  </a:lnTo>
                  <a:lnTo>
                    <a:pt x="611" y="2564"/>
                  </a:lnTo>
                  <a:lnTo>
                    <a:pt x="587" y="2569"/>
                  </a:lnTo>
                  <a:lnTo>
                    <a:pt x="564" y="2574"/>
                  </a:lnTo>
                  <a:lnTo>
                    <a:pt x="542" y="2578"/>
                  </a:lnTo>
                  <a:lnTo>
                    <a:pt x="518" y="2580"/>
                  </a:lnTo>
                  <a:lnTo>
                    <a:pt x="494" y="2581"/>
                  </a:lnTo>
                  <a:lnTo>
                    <a:pt x="471" y="2580"/>
                  </a:lnTo>
                  <a:lnTo>
                    <a:pt x="447" y="2579"/>
                  </a:lnTo>
                  <a:lnTo>
                    <a:pt x="424" y="2577"/>
                  </a:lnTo>
                  <a:lnTo>
                    <a:pt x="402" y="2573"/>
                  </a:lnTo>
                  <a:lnTo>
                    <a:pt x="379" y="2568"/>
                  </a:lnTo>
                  <a:lnTo>
                    <a:pt x="356" y="2563"/>
                  </a:lnTo>
                  <a:lnTo>
                    <a:pt x="333" y="2556"/>
                  </a:lnTo>
                  <a:lnTo>
                    <a:pt x="312" y="2549"/>
                  </a:lnTo>
                  <a:lnTo>
                    <a:pt x="290" y="2539"/>
                  </a:lnTo>
                  <a:lnTo>
                    <a:pt x="268" y="2529"/>
                  </a:lnTo>
                  <a:lnTo>
                    <a:pt x="247" y="2519"/>
                  </a:lnTo>
                  <a:lnTo>
                    <a:pt x="227" y="2506"/>
                  </a:lnTo>
                  <a:lnTo>
                    <a:pt x="207" y="2494"/>
                  </a:lnTo>
                  <a:lnTo>
                    <a:pt x="187" y="2479"/>
                  </a:lnTo>
                  <a:lnTo>
                    <a:pt x="169" y="2464"/>
                  </a:lnTo>
                  <a:lnTo>
                    <a:pt x="151" y="2448"/>
                  </a:lnTo>
                  <a:lnTo>
                    <a:pt x="133" y="2430"/>
                  </a:lnTo>
                  <a:lnTo>
                    <a:pt x="117" y="2412"/>
                  </a:lnTo>
                  <a:lnTo>
                    <a:pt x="101" y="2393"/>
                  </a:lnTo>
                  <a:lnTo>
                    <a:pt x="101" y="2393"/>
                  </a:lnTo>
                  <a:lnTo>
                    <a:pt x="87" y="2372"/>
                  </a:lnTo>
                  <a:lnTo>
                    <a:pt x="73" y="2352"/>
                  </a:lnTo>
                  <a:lnTo>
                    <a:pt x="61" y="2331"/>
                  </a:lnTo>
                  <a:lnTo>
                    <a:pt x="49" y="2309"/>
                  </a:lnTo>
                  <a:lnTo>
                    <a:pt x="39" y="2288"/>
                  </a:lnTo>
                  <a:lnTo>
                    <a:pt x="31" y="2266"/>
                  </a:lnTo>
                  <a:lnTo>
                    <a:pt x="23" y="2243"/>
                  </a:lnTo>
                  <a:lnTo>
                    <a:pt x="16" y="2220"/>
                  </a:lnTo>
                  <a:lnTo>
                    <a:pt x="10" y="2197"/>
                  </a:lnTo>
                  <a:lnTo>
                    <a:pt x="6" y="2175"/>
                  </a:lnTo>
                  <a:lnTo>
                    <a:pt x="3" y="2151"/>
                  </a:lnTo>
                  <a:lnTo>
                    <a:pt x="1" y="2128"/>
                  </a:lnTo>
                  <a:lnTo>
                    <a:pt x="0" y="2104"/>
                  </a:lnTo>
                  <a:lnTo>
                    <a:pt x="0" y="2080"/>
                  </a:lnTo>
                  <a:lnTo>
                    <a:pt x="2" y="2058"/>
                  </a:lnTo>
                  <a:lnTo>
                    <a:pt x="4" y="2034"/>
                  </a:lnTo>
                  <a:lnTo>
                    <a:pt x="7" y="2011"/>
                  </a:lnTo>
                  <a:lnTo>
                    <a:pt x="12" y="1988"/>
                  </a:lnTo>
                  <a:lnTo>
                    <a:pt x="17" y="1965"/>
                  </a:lnTo>
                  <a:lnTo>
                    <a:pt x="25" y="1943"/>
                  </a:lnTo>
                  <a:lnTo>
                    <a:pt x="32" y="1921"/>
                  </a:lnTo>
                  <a:lnTo>
                    <a:pt x="41" y="1899"/>
                  </a:lnTo>
                  <a:lnTo>
                    <a:pt x="50" y="1878"/>
                  </a:lnTo>
                  <a:lnTo>
                    <a:pt x="62" y="1857"/>
                  </a:lnTo>
                  <a:lnTo>
                    <a:pt x="74" y="1837"/>
                  </a:lnTo>
                  <a:lnTo>
                    <a:pt x="87" y="1817"/>
                  </a:lnTo>
                  <a:lnTo>
                    <a:pt x="101" y="1798"/>
                  </a:lnTo>
                  <a:lnTo>
                    <a:pt x="117" y="1779"/>
                  </a:lnTo>
                  <a:lnTo>
                    <a:pt x="132" y="1760"/>
                  </a:lnTo>
                  <a:lnTo>
                    <a:pt x="150" y="1744"/>
                  </a:lnTo>
                  <a:lnTo>
                    <a:pt x="169" y="1727"/>
                  </a:lnTo>
                  <a:lnTo>
                    <a:pt x="187" y="1712"/>
                  </a:lnTo>
                  <a:lnTo>
                    <a:pt x="2264" y="101"/>
                  </a:lnTo>
                  <a:lnTo>
                    <a:pt x="2284" y="87"/>
                  </a:lnTo>
                  <a:lnTo>
                    <a:pt x="2304" y="72"/>
                  </a:lnTo>
                  <a:lnTo>
                    <a:pt x="2326" y="61"/>
                  </a:lnTo>
                  <a:lnTo>
                    <a:pt x="2347" y="49"/>
                  </a:lnTo>
                  <a:lnTo>
                    <a:pt x="2369" y="39"/>
                  </a:lnTo>
                  <a:lnTo>
                    <a:pt x="2391" y="30"/>
                  </a:lnTo>
                  <a:lnTo>
                    <a:pt x="2414" y="22"/>
                  </a:lnTo>
                  <a:lnTo>
                    <a:pt x="2437" y="15"/>
                  </a:lnTo>
                  <a:lnTo>
                    <a:pt x="2459" y="10"/>
                  </a:lnTo>
                  <a:lnTo>
                    <a:pt x="2482" y="6"/>
                  </a:lnTo>
                  <a:lnTo>
                    <a:pt x="2506" y="3"/>
                  </a:lnTo>
                  <a:lnTo>
                    <a:pt x="2529" y="1"/>
                  </a:lnTo>
                  <a:lnTo>
                    <a:pt x="2553" y="0"/>
                  </a:lnTo>
                  <a:lnTo>
                    <a:pt x="2575" y="0"/>
                  </a:lnTo>
                  <a:lnTo>
                    <a:pt x="2599" y="1"/>
                  </a:lnTo>
                  <a:lnTo>
                    <a:pt x="2622" y="4"/>
                  </a:lnTo>
                  <a:lnTo>
                    <a:pt x="2646" y="7"/>
                  </a:lnTo>
                  <a:lnTo>
                    <a:pt x="2669" y="11"/>
                  </a:lnTo>
                  <a:lnTo>
                    <a:pt x="2691" y="17"/>
                  </a:lnTo>
                  <a:lnTo>
                    <a:pt x="2713" y="23"/>
                  </a:lnTo>
                  <a:lnTo>
                    <a:pt x="2736" y="32"/>
                  </a:lnTo>
                  <a:lnTo>
                    <a:pt x="2758" y="41"/>
                  </a:lnTo>
                  <a:lnTo>
                    <a:pt x="2778" y="50"/>
                  </a:lnTo>
                  <a:lnTo>
                    <a:pt x="2799" y="62"/>
                  </a:lnTo>
                  <a:lnTo>
                    <a:pt x="2820" y="73"/>
                  </a:lnTo>
                  <a:lnTo>
                    <a:pt x="2840" y="87"/>
                  </a:lnTo>
                  <a:lnTo>
                    <a:pt x="2859" y="101"/>
                  </a:lnTo>
                  <a:lnTo>
                    <a:pt x="2878" y="116"/>
                  </a:lnTo>
                  <a:lnTo>
                    <a:pt x="2896" y="132"/>
                  </a:lnTo>
                  <a:lnTo>
                    <a:pt x="2913" y="150"/>
                  </a:lnTo>
                  <a:lnTo>
                    <a:pt x="2930" y="167"/>
                  </a:lnTo>
                  <a:lnTo>
                    <a:pt x="2945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1979" y="1570"/>
              <a:ext cx="282" cy="583"/>
            </a:xfrm>
            <a:custGeom>
              <a:avLst/>
              <a:gdLst>
                <a:gd name="T0" fmla="*/ 1318 w 1694"/>
                <a:gd name="T1" fmla="*/ 3484 h 3497"/>
                <a:gd name="T2" fmla="*/ 1246 w 1694"/>
                <a:gd name="T3" fmla="*/ 3496 h 3497"/>
                <a:gd name="T4" fmla="*/ 1174 w 1694"/>
                <a:gd name="T5" fmla="*/ 3496 h 3497"/>
                <a:gd name="T6" fmla="*/ 1105 w 1694"/>
                <a:gd name="T7" fmla="*/ 3485 h 3497"/>
                <a:gd name="T8" fmla="*/ 1037 w 1694"/>
                <a:gd name="T9" fmla="*/ 3464 h 3497"/>
                <a:gd name="T10" fmla="*/ 973 w 1694"/>
                <a:gd name="T11" fmla="*/ 3435 h 3497"/>
                <a:gd name="T12" fmla="*/ 915 w 1694"/>
                <a:gd name="T13" fmla="*/ 3397 h 3497"/>
                <a:gd name="T14" fmla="*/ 862 w 1694"/>
                <a:gd name="T15" fmla="*/ 3351 h 3497"/>
                <a:gd name="T16" fmla="*/ 816 w 1694"/>
                <a:gd name="T17" fmla="*/ 3297 h 3497"/>
                <a:gd name="T18" fmla="*/ 778 w 1694"/>
                <a:gd name="T19" fmla="*/ 3236 h 3497"/>
                <a:gd name="T20" fmla="*/ 749 w 1694"/>
                <a:gd name="T21" fmla="*/ 3168 h 3497"/>
                <a:gd name="T22" fmla="*/ 13 w 1694"/>
                <a:gd name="T23" fmla="*/ 594 h 3497"/>
                <a:gd name="T24" fmla="*/ 1 w 1694"/>
                <a:gd name="T25" fmla="*/ 522 h 3497"/>
                <a:gd name="T26" fmla="*/ 1 w 1694"/>
                <a:gd name="T27" fmla="*/ 450 h 3497"/>
                <a:gd name="T28" fmla="*/ 12 w 1694"/>
                <a:gd name="T29" fmla="*/ 380 h 3497"/>
                <a:gd name="T30" fmla="*/ 32 w 1694"/>
                <a:gd name="T31" fmla="*/ 313 h 3497"/>
                <a:gd name="T32" fmla="*/ 61 w 1694"/>
                <a:gd name="T33" fmla="*/ 249 h 3497"/>
                <a:gd name="T34" fmla="*/ 100 w 1694"/>
                <a:gd name="T35" fmla="*/ 191 h 3497"/>
                <a:gd name="T36" fmla="*/ 146 w 1694"/>
                <a:gd name="T37" fmla="*/ 139 h 3497"/>
                <a:gd name="T38" fmla="*/ 200 w 1694"/>
                <a:gd name="T39" fmla="*/ 92 h 3497"/>
                <a:gd name="T40" fmla="*/ 261 w 1694"/>
                <a:gd name="T41" fmla="*/ 55 h 3497"/>
                <a:gd name="T42" fmla="*/ 329 w 1694"/>
                <a:gd name="T43" fmla="*/ 26 h 3497"/>
                <a:gd name="T44" fmla="*/ 376 w 1694"/>
                <a:gd name="T45" fmla="*/ 12 h 3497"/>
                <a:gd name="T46" fmla="*/ 449 w 1694"/>
                <a:gd name="T47" fmla="*/ 1 h 3497"/>
                <a:gd name="T48" fmla="*/ 520 w 1694"/>
                <a:gd name="T49" fmla="*/ 1 h 3497"/>
                <a:gd name="T50" fmla="*/ 591 w 1694"/>
                <a:gd name="T51" fmla="*/ 11 h 3497"/>
                <a:gd name="T52" fmla="*/ 658 w 1694"/>
                <a:gd name="T53" fmla="*/ 31 h 3497"/>
                <a:gd name="T54" fmla="*/ 721 w 1694"/>
                <a:gd name="T55" fmla="*/ 61 h 3497"/>
                <a:gd name="T56" fmla="*/ 780 w 1694"/>
                <a:gd name="T57" fmla="*/ 99 h 3497"/>
                <a:gd name="T58" fmla="*/ 833 w 1694"/>
                <a:gd name="T59" fmla="*/ 146 h 3497"/>
                <a:gd name="T60" fmla="*/ 879 w 1694"/>
                <a:gd name="T61" fmla="*/ 200 h 3497"/>
                <a:gd name="T62" fmla="*/ 917 w 1694"/>
                <a:gd name="T63" fmla="*/ 261 h 3497"/>
                <a:gd name="T64" fmla="*/ 946 w 1694"/>
                <a:gd name="T65" fmla="*/ 328 h 3497"/>
                <a:gd name="T66" fmla="*/ 1683 w 1694"/>
                <a:gd name="T67" fmla="*/ 2901 h 3497"/>
                <a:gd name="T68" fmla="*/ 1693 w 1694"/>
                <a:gd name="T69" fmla="*/ 2974 h 3497"/>
                <a:gd name="T70" fmla="*/ 1693 w 1694"/>
                <a:gd name="T71" fmla="*/ 3045 h 3497"/>
                <a:gd name="T72" fmla="*/ 1683 w 1694"/>
                <a:gd name="T73" fmla="*/ 3115 h 3497"/>
                <a:gd name="T74" fmla="*/ 1663 w 1694"/>
                <a:gd name="T75" fmla="*/ 3183 h 3497"/>
                <a:gd name="T76" fmla="*/ 1633 w 1694"/>
                <a:gd name="T77" fmla="*/ 3246 h 3497"/>
                <a:gd name="T78" fmla="*/ 1595 w 1694"/>
                <a:gd name="T79" fmla="*/ 3305 h 3497"/>
                <a:gd name="T80" fmla="*/ 1549 w 1694"/>
                <a:gd name="T81" fmla="*/ 3358 h 3497"/>
                <a:gd name="T82" fmla="*/ 1494 w 1694"/>
                <a:gd name="T83" fmla="*/ 3403 h 3497"/>
                <a:gd name="T84" fmla="*/ 1434 w 1694"/>
                <a:gd name="T85" fmla="*/ 3442 h 3497"/>
                <a:gd name="T86" fmla="*/ 1367 w 1694"/>
                <a:gd name="T87" fmla="*/ 3471 h 3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94" h="3497">
                  <a:moveTo>
                    <a:pt x="1343" y="3478"/>
                  </a:moveTo>
                  <a:lnTo>
                    <a:pt x="1343" y="3478"/>
                  </a:lnTo>
                  <a:lnTo>
                    <a:pt x="1318" y="3484"/>
                  </a:lnTo>
                  <a:lnTo>
                    <a:pt x="1294" y="3489"/>
                  </a:lnTo>
                  <a:lnTo>
                    <a:pt x="1270" y="3492"/>
                  </a:lnTo>
                  <a:lnTo>
                    <a:pt x="1246" y="3496"/>
                  </a:lnTo>
                  <a:lnTo>
                    <a:pt x="1222" y="3497"/>
                  </a:lnTo>
                  <a:lnTo>
                    <a:pt x="1198" y="3497"/>
                  </a:lnTo>
                  <a:lnTo>
                    <a:pt x="1174" y="3496"/>
                  </a:lnTo>
                  <a:lnTo>
                    <a:pt x="1150" y="3492"/>
                  </a:lnTo>
                  <a:lnTo>
                    <a:pt x="1127" y="3489"/>
                  </a:lnTo>
                  <a:lnTo>
                    <a:pt x="1105" y="3485"/>
                  </a:lnTo>
                  <a:lnTo>
                    <a:pt x="1082" y="3479"/>
                  </a:lnTo>
                  <a:lnTo>
                    <a:pt x="1059" y="3473"/>
                  </a:lnTo>
                  <a:lnTo>
                    <a:pt x="1037" y="3464"/>
                  </a:lnTo>
                  <a:lnTo>
                    <a:pt x="1016" y="3456"/>
                  </a:lnTo>
                  <a:lnTo>
                    <a:pt x="994" y="3446"/>
                  </a:lnTo>
                  <a:lnTo>
                    <a:pt x="973" y="3435"/>
                  </a:lnTo>
                  <a:lnTo>
                    <a:pt x="953" y="3423"/>
                  </a:lnTo>
                  <a:lnTo>
                    <a:pt x="934" y="3411"/>
                  </a:lnTo>
                  <a:lnTo>
                    <a:pt x="915" y="3397"/>
                  </a:lnTo>
                  <a:lnTo>
                    <a:pt x="896" y="3383"/>
                  </a:lnTo>
                  <a:lnTo>
                    <a:pt x="879" y="3367"/>
                  </a:lnTo>
                  <a:lnTo>
                    <a:pt x="862" y="3351"/>
                  </a:lnTo>
                  <a:lnTo>
                    <a:pt x="846" y="3333"/>
                  </a:lnTo>
                  <a:lnTo>
                    <a:pt x="830" y="3315"/>
                  </a:lnTo>
                  <a:lnTo>
                    <a:pt x="816" y="3297"/>
                  </a:lnTo>
                  <a:lnTo>
                    <a:pt x="802" y="3277"/>
                  </a:lnTo>
                  <a:lnTo>
                    <a:pt x="790" y="3256"/>
                  </a:lnTo>
                  <a:lnTo>
                    <a:pt x="778" y="3236"/>
                  </a:lnTo>
                  <a:lnTo>
                    <a:pt x="768" y="3214"/>
                  </a:lnTo>
                  <a:lnTo>
                    <a:pt x="758" y="3191"/>
                  </a:lnTo>
                  <a:lnTo>
                    <a:pt x="749" y="3168"/>
                  </a:lnTo>
                  <a:lnTo>
                    <a:pt x="742" y="3144"/>
                  </a:lnTo>
                  <a:lnTo>
                    <a:pt x="19" y="619"/>
                  </a:lnTo>
                  <a:lnTo>
                    <a:pt x="13" y="594"/>
                  </a:lnTo>
                  <a:lnTo>
                    <a:pt x="7" y="571"/>
                  </a:lnTo>
                  <a:lnTo>
                    <a:pt x="3" y="547"/>
                  </a:lnTo>
                  <a:lnTo>
                    <a:pt x="1" y="522"/>
                  </a:lnTo>
                  <a:lnTo>
                    <a:pt x="0" y="498"/>
                  </a:lnTo>
                  <a:lnTo>
                    <a:pt x="0" y="474"/>
                  </a:lnTo>
                  <a:lnTo>
                    <a:pt x="1" y="450"/>
                  </a:lnTo>
                  <a:lnTo>
                    <a:pt x="3" y="427"/>
                  </a:lnTo>
                  <a:lnTo>
                    <a:pt x="7" y="404"/>
                  </a:lnTo>
                  <a:lnTo>
                    <a:pt x="12" y="380"/>
                  </a:lnTo>
                  <a:lnTo>
                    <a:pt x="18" y="357"/>
                  </a:lnTo>
                  <a:lnTo>
                    <a:pt x="24" y="335"/>
                  </a:lnTo>
                  <a:lnTo>
                    <a:pt x="32" y="313"/>
                  </a:lnTo>
                  <a:lnTo>
                    <a:pt x="41" y="292"/>
                  </a:lnTo>
                  <a:lnTo>
                    <a:pt x="51" y="270"/>
                  </a:lnTo>
                  <a:lnTo>
                    <a:pt x="61" y="249"/>
                  </a:lnTo>
                  <a:lnTo>
                    <a:pt x="74" y="230"/>
                  </a:lnTo>
                  <a:lnTo>
                    <a:pt x="86" y="210"/>
                  </a:lnTo>
                  <a:lnTo>
                    <a:pt x="100" y="191"/>
                  </a:lnTo>
                  <a:lnTo>
                    <a:pt x="114" y="173"/>
                  </a:lnTo>
                  <a:lnTo>
                    <a:pt x="130" y="155"/>
                  </a:lnTo>
                  <a:lnTo>
                    <a:pt x="146" y="139"/>
                  </a:lnTo>
                  <a:lnTo>
                    <a:pt x="163" y="122"/>
                  </a:lnTo>
                  <a:lnTo>
                    <a:pt x="182" y="107"/>
                  </a:lnTo>
                  <a:lnTo>
                    <a:pt x="200" y="92"/>
                  </a:lnTo>
                  <a:lnTo>
                    <a:pt x="220" y="79"/>
                  </a:lnTo>
                  <a:lnTo>
                    <a:pt x="240" y="66"/>
                  </a:lnTo>
                  <a:lnTo>
                    <a:pt x="261" y="55"/>
                  </a:lnTo>
                  <a:lnTo>
                    <a:pt x="283" y="43"/>
                  </a:lnTo>
                  <a:lnTo>
                    <a:pt x="305" y="34"/>
                  </a:lnTo>
                  <a:lnTo>
                    <a:pt x="329" y="26"/>
                  </a:lnTo>
                  <a:lnTo>
                    <a:pt x="353" y="19"/>
                  </a:lnTo>
                  <a:lnTo>
                    <a:pt x="353" y="19"/>
                  </a:lnTo>
                  <a:lnTo>
                    <a:pt x="376" y="12"/>
                  </a:lnTo>
                  <a:lnTo>
                    <a:pt x="400" y="7"/>
                  </a:lnTo>
                  <a:lnTo>
                    <a:pt x="425" y="3"/>
                  </a:lnTo>
                  <a:lnTo>
                    <a:pt x="449" y="1"/>
                  </a:lnTo>
                  <a:lnTo>
                    <a:pt x="473" y="0"/>
                  </a:lnTo>
                  <a:lnTo>
                    <a:pt x="497" y="0"/>
                  </a:lnTo>
                  <a:lnTo>
                    <a:pt x="520" y="1"/>
                  </a:lnTo>
                  <a:lnTo>
                    <a:pt x="544" y="3"/>
                  </a:lnTo>
                  <a:lnTo>
                    <a:pt x="568" y="6"/>
                  </a:lnTo>
                  <a:lnTo>
                    <a:pt x="591" y="11"/>
                  </a:lnTo>
                  <a:lnTo>
                    <a:pt x="614" y="16"/>
                  </a:lnTo>
                  <a:lnTo>
                    <a:pt x="636" y="24"/>
                  </a:lnTo>
                  <a:lnTo>
                    <a:pt x="658" y="31"/>
                  </a:lnTo>
                  <a:lnTo>
                    <a:pt x="680" y="40"/>
                  </a:lnTo>
                  <a:lnTo>
                    <a:pt x="701" y="50"/>
                  </a:lnTo>
                  <a:lnTo>
                    <a:pt x="721" y="61"/>
                  </a:lnTo>
                  <a:lnTo>
                    <a:pt x="742" y="72"/>
                  </a:lnTo>
                  <a:lnTo>
                    <a:pt x="761" y="86"/>
                  </a:lnTo>
                  <a:lnTo>
                    <a:pt x="780" y="99"/>
                  </a:lnTo>
                  <a:lnTo>
                    <a:pt x="798" y="114"/>
                  </a:lnTo>
                  <a:lnTo>
                    <a:pt x="816" y="129"/>
                  </a:lnTo>
                  <a:lnTo>
                    <a:pt x="833" y="146"/>
                  </a:lnTo>
                  <a:lnTo>
                    <a:pt x="849" y="162"/>
                  </a:lnTo>
                  <a:lnTo>
                    <a:pt x="864" y="181"/>
                  </a:lnTo>
                  <a:lnTo>
                    <a:pt x="879" y="200"/>
                  </a:lnTo>
                  <a:lnTo>
                    <a:pt x="892" y="219"/>
                  </a:lnTo>
                  <a:lnTo>
                    <a:pt x="905" y="239"/>
                  </a:lnTo>
                  <a:lnTo>
                    <a:pt x="917" y="261"/>
                  </a:lnTo>
                  <a:lnTo>
                    <a:pt x="928" y="283"/>
                  </a:lnTo>
                  <a:lnTo>
                    <a:pt x="937" y="304"/>
                  </a:lnTo>
                  <a:lnTo>
                    <a:pt x="946" y="328"/>
                  </a:lnTo>
                  <a:lnTo>
                    <a:pt x="953" y="351"/>
                  </a:lnTo>
                  <a:lnTo>
                    <a:pt x="1677" y="2877"/>
                  </a:lnTo>
                  <a:lnTo>
                    <a:pt x="1683" y="2901"/>
                  </a:lnTo>
                  <a:lnTo>
                    <a:pt x="1687" y="2926"/>
                  </a:lnTo>
                  <a:lnTo>
                    <a:pt x="1691" y="2950"/>
                  </a:lnTo>
                  <a:lnTo>
                    <a:pt x="1693" y="2974"/>
                  </a:lnTo>
                  <a:lnTo>
                    <a:pt x="1694" y="2997"/>
                  </a:lnTo>
                  <a:lnTo>
                    <a:pt x="1694" y="3022"/>
                  </a:lnTo>
                  <a:lnTo>
                    <a:pt x="1693" y="3045"/>
                  </a:lnTo>
                  <a:lnTo>
                    <a:pt x="1691" y="3069"/>
                  </a:lnTo>
                  <a:lnTo>
                    <a:pt x="1688" y="3093"/>
                  </a:lnTo>
                  <a:lnTo>
                    <a:pt x="1683" y="3115"/>
                  </a:lnTo>
                  <a:lnTo>
                    <a:pt x="1678" y="3138"/>
                  </a:lnTo>
                  <a:lnTo>
                    <a:pt x="1670" y="3161"/>
                  </a:lnTo>
                  <a:lnTo>
                    <a:pt x="1663" y="3183"/>
                  </a:lnTo>
                  <a:lnTo>
                    <a:pt x="1654" y="3204"/>
                  </a:lnTo>
                  <a:lnTo>
                    <a:pt x="1644" y="3225"/>
                  </a:lnTo>
                  <a:lnTo>
                    <a:pt x="1633" y="3246"/>
                  </a:lnTo>
                  <a:lnTo>
                    <a:pt x="1622" y="3267"/>
                  </a:lnTo>
                  <a:lnTo>
                    <a:pt x="1609" y="3286"/>
                  </a:lnTo>
                  <a:lnTo>
                    <a:pt x="1595" y="3305"/>
                  </a:lnTo>
                  <a:lnTo>
                    <a:pt x="1580" y="3324"/>
                  </a:lnTo>
                  <a:lnTo>
                    <a:pt x="1565" y="3341"/>
                  </a:lnTo>
                  <a:lnTo>
                    <a:pt x="1549" y="3358"/>
                  </a:lnTo>
                  <a:lnTo>
                    <a:pt x="1532" y="3374"/>
                  </a:lnTo>
                  <a:lnTo>
                    <a:pt x="1514" y="3389"/>
                  </a:lnTo>
                  <a:lnTo>
                    <a:pt x="1494" y="3403"/>
                  </a:lnTo>
                  <a:lnTo>
                    <a:pt x="1476" y="3417"/>
                  </a:lnTo>
                  <a:lnTo>
                    <a:pt x="1455" y="3430"/>
                  </a:lnTo>
                  <a:lnTo>
                    <a:pt x="1434" y="3442"/>
                  </a:lnTo>
                  <a:lnTo>
                    <a:pt x="1412" y="3452"/>
                  </a:lnTo>
                  <a:lnTo>
                    <a:pt x="1390" y="3461"/>
                  </a:lnTo>
                  <a:lnTo>
                    <a:pt x="1367" y="3471"/>
                  </a:lnTo>
                  <a:lnTo>
                    <a:pt x="1343" y="34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auto">
            <a:xfrm>
              <a:off x="3161" y="940"/>
              <a:ext cx="495" cy="483"/>
            </a:xfrm>
            <a:custGeom>
              <a:avLst/>
              <a:gdLst>
                <a:gd name="T0" fmla="*/ 0 w 2974"/>
                <a:gd name="T1" fmla="*/ 0 h 2895"/>
                <a:gd name="T2" fmla="*/ 574 w 2974"/>
                <a:gd name="T3" fmla="*/ 0 h 2895"/>
                <a:gd name="T4" fmla="*/ 574 w 2974"/>
                <a:gd name="T5" fmla="*/ 2195 h 2895"/>
                <a:gd name="T6" fmla="*/ 2974 w 2974"/>
                <a:gd name="T7" fmla="*/ 2195 h 2895"/>
                <a:gd name="T8" fmla="*/ 2974 w 2974"/>
                <a:gd name="T9" fmla="*/ 2895 h 2895"/>
                <a:gd name="T10" fmla="*/ 0 w 2974"/>
                <a:gd name="T11" fmla="*/ 2895 h 2895"/>
                <a:gd name="T12" fmla="*/ 0 w 2974"/>
                <a:gd name="T13" fmla="*/ 0 h 2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4" h="2895">
                  <a:moveTo>
                    <a:pt x="0" y="0"/>
                  </a:moveTo>
                  <a:lnTo>
                    <a:pt x="574" y="0"/>
                  </a:lnTo>
                  <a:lnTo>
                    <a:pt x="574" y="2195"/>
                  </a:lnTo>
                  <a:lnTo>
                    <a:pt x="2974" y="2195"/>
                  </a:lnTo>
                  <a:lnTo>
                    <a:pt x="2974" y="2895"/>
                  </a:lnTo>
                  <a:lnTo>
                    <a:pt x="0" y="289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Rectangle 19"/>
            <p:cNvSpPr>
              <a:spLocks noChangeArrowheads="1"/>
            </p:cNvSpPr>
            <p:nvPr/>
          </p:nvSpPr>
          <p:spPr bwMode="auto">
            <a:xfrm>
              <a:off x="3291" y="780"/>
              <a:ext cx="496" cy="4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817025" y="2754181"/>
            <a:ext cx="346075" cy="411163"/>
            <a:chOff x="7144220" y="3819402"/>
            <a:chExt cx="346075" cy="411163"/>
          </a:xfrm>
        </p:grpSpPr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7144220" y="3819402"/>
              <a:ext cx="346075" cy="411163"/>
            </a:xfrm>
            <a:custGeom>
              <a:avLst/>
              <a:gdLst>
                <a:gd name="connsiteX0" fmla="*/ 46037 w 346075"/>
                <a:gd name="connsiteY0" fmla="*/ 44450 h 411163"/>
                <a:gd name="connsiteX1" fmla="*/ 46037 w 346075"/>
                <a:gd name="connsiteY1" fmla="*/ 366713 h 411163"/>
                <a:gd name="connsiteX2" fmla="*/ 301625 w 346075"/>
                <a:gd name="connsiteY2" fmla="*/ 366713 h 411163"/>
                <a:gd name="connsiteX3" fmla="*/ 301625 w 346075"/>
                <a:gd name="connsiteY3" fmla="*/ 44450 h 411163"/>
                <a:gd name="connsiteX4" fmla="*/ 36471 w 346075"/>
                <a:gd name="connsiteY4" fmla="*/ 0 h 411163"/>
                <a:gd name="connsiteX5" fmla="*/ 309605 w 346075"/>
                <a:gd name="connsiteY5" fmla="*/ 0 h 411163"/>
                <a:gd name="connsiteX6" fmla="*/ 313172 w 346075"/>
                <a:gd name="connsiteY6" fmla="*/ 791 h 411163"/>
                <a:gd name="connsiteX7" fmla="*/ 317137 w 346075"/>
                <a:gd name="connsiteY7" fmla="*/ 1186 h 411163"/>
                <a:gd name="connsiteX8" fmla="*/ 320704 w 346075"/>
                <a:gd name="connsiteY8" fmla="*/ 1977 h 411163"/>
                <a:gd name="connsiteX9" fmla="*/ 323876 w 346075"/>
                <a:gd name="connsiteY9" fmla="*/ 2768 h 411163"/>
                <a:gd name="connsiteX10" fmla="*/ 327047 w 346075"/>
                <a:gd name="connsiteY10" fmla="*/ 4744 h 411163"/>
                <a:gd name="connsiteX11" fmla="*/ 330218 w 346075"/>
                <a:gd name="connsiteY11" fmla="*/ 6326 h 411163"/>
                <a:gd name="connsiteX12" fmla="*/ 332597 w 346075"/>
                <a:gd name="connsiteY12" fmla="*/ 8302 h 411163"/>
                <a:gd name="connsiteX13" fmla="*/ 334975 w 346075"/>
                <a:gd name="connsiteY13" fmla="*/ 11070 h 411163"/>
                <a:gd name="connsiteX14" fmla="*/ 337750 w 346075"/>
                <a:gd name="connsiteY14" fmla="*/ 13047 h 411163"/>
                <a:gd name="connsiteX15" fmla="*/ 339733 w 346075"/>
                <a:gd name="connsiteY15" fmla="*/ 15814 h 411163"/>
                <a:gd name="connsiteX16" fmla="*/ 341318 w 346075"/>
                <a:gd name="connsiteY16" fmla="*/ 18977 h 411163"/>
                <a:gd name="connsiteX17" fmla="*/ 343300 w 346075"/>
                <a:gd name="connsiteY17" fmla="*/ 22140 h 411163"/>
                <a:gd name="connsiteX18" fmla="*/ 344093 w 346075"/>
                <a:gd name="connsiteY18" fmla="*/ 25302 h 411163"/>
                <a:gd name="connsiteX19" fmla="*/ 344886 w 346075"/>
                <a:gd name="connsiteY19" fmla="*/ 28861 h 411163"/>
                <a:gd name="connsiteX20" fmla="*/ 346075 w 346075"/>
                <a:gd name="connsiteY20" fmla="*/ 32419 h 411163"/>
                <a:gd name="connsiteX21" fmla="*/ 346075 w 346075"/>
                <a:gd name="connsiteY21" fmla="*/ 36372 h 411163"/>
                <a:gd name="connsiteX22" fmla="*/ 346075 w 346075"/>
                <a:gd name="connsiteY22" fmla="*/ 375186 h 411163"/>
                <a:gd name="connsiteX23" fmla="*/ 346075 w 346075"/>
                <a:gd name="connsiteY23" fmla="*/ 378745 h 411163"/>
                <a:gd name="connsiteX24" fmla="*/ 344886 w 346075"/>
                <a:gd name="connsiteY24" fmla="*/ 382303 h 411163"/>
                <a:gd name="connsiteX25" fmla="*/ 344093 w 346075"/>
                <a:gd name="connsiteY25" fmla="*/ 385466 h 411163"/>
                <a:gd name="connsiteX26" fmla="*/ 343300 w 346075"/>
                <a:gd name="connsiteY26" fmla="*/ 389024 h 411163"/>
                <a:gd name="connsiteX27" fmla="*/ 341318 w 346075"/>
                <a:gd name="connsiteY27" fmla="*/ 392186 h 411163"/>
                <a:gd name="connsiteX28" fmla="*/ 339733 w 346075"/>
                <a:gd name="connsiteY28" fmla="*/ 394954 h 411163"/>
                <a:gd name="connsiteX29" fmla="*/ 337750 w 346075"/>
                <a:gd name="connsiteY29" fmla="*/ 397721 h 411163"/>
                <a:gd name="connsiteX30" fmla="*/ 334975 w 346075"/>
                <a:gd name="connsiteY30" fmla="*/ 400489 h 411163"/>
                <a:gd name="connsiteX31" fmla="*/ 332597 w 346075"/>
                <a:gd name="connsiteY31" fmla="*/ 402466 h 411163"/>
                <a:gd name="connsiteX32" fmla="*/ 330218 w 346075"/>
                <a:gd name="connsiteY32" fmla="*/ 404838 h 411163"/>
                <a:gd name="connsiteX33" fmla="*/ 327047 w 346075"/>
                <a:gd name="connsiteY33" fmla="*/ 406814 h 411163"/>
                <a:gd name="connsiteX34" fmla="*/ 323876 w 346075"/>
                <a:gd name="connsiteY34" fmla="*/ 408000 h 411163"/>
                <a:gd name="connsiteX35" fmla="*/ 320704 w 346075"/>
                <a:gd name="connsiteY35" fmla="*/ 409186 h 411163"/>
                <a:gd name="connsiteX36" fmla="*/ 317137 w 346075"/>
                <a:gd name="connsiteY36" fmla="*/ 410373 h 411163"/>
                <a:gd name="connsiteX37" fmla="*/ 313172 w 346075"/>
                <a:gd name="connsiteY37" fmla="*/ 410768 h 411163"/>
                <a:gd name="connsiteX38" fmla="*/ 309605 w 346075"/>
                <a:gd name="connsiteY38" fmla="*/ 411163 h 411163"/>
                <a:gd name="connsiteX39" fmla="*/ 36471 w 346075"/>
                <a:gd name="connsiteY39" fmla="*/ 411163 h 411163"/>
                <a:gd name="connsiteX40" fmla="*/ 32903 w 346075"/>
                <a:gd name="connsiteY40" fmla="*/ 410768 h 411163"/>
                <a:gd name="connsiteX41" fmla="*/ 28939 w 346075"/>
                <a:gd name="connsiteY41" fmla="*/ 410373 h 411163"/>
                <a:gd name="connsiteX42" fmla="*/ 25371 w 346075"/>
                <a:gd name="connsiteY42" fmla="*/ 409186 h 411163"/>
                <a:gd name="connsiteX43" fmla="*/ 22200 w 346075"/>
                <a:gd name="connsiteY43" fmla="*/ 408000 h 411163"/>
                <a:gd name="connsiteX44" fmla="*/ 19028 w 346075"/>
                <a:gd name="connsiteY44" fmla="*/ 406814 h 411163"/>
                <a:gd name="connsiteX45" fmla="*/ 15857 w 346075"/>
                <a:gd name="connsiteY45" fmla="*/ 404838 h 411163"/>
                <a:gd name="connsiteX46" fmla="*/ 13479 w 346075"/>
                <a:gd name="connsiteY46" fmla="*/ 402466 h 411163"/>
                <a:gd name="connsiteX47" fmla="*/ 10704 w 346075"/>
                <a:gd name="connsiteY47" fmla="*/ 400489 h 411163"/>
                <a:gd name="connsiteX48" fmla="*/ 8325 w 346075"/>
                <a:gd name="connsiteY48" fmla="*/ 397721 h 411163"/>
                <a:gd name="connsiteX49" fmla="*/ 5947 w 346075"/>
                <a:gd name="connsiteY49" fmla="*/ 394954 h 411163"/>
                <a:gd name="connsiteX50" fmla="*/ 4361 w 346075"/>
                <a:gd name="connsiteY50" fmla="*/ 392186 h 411163"/>
                <a:gd name="connsiteX51" fmla="*/ 2775 w 346075"/>
                <a:gd name="connsiteY51" fmla="*/ 389024 h 411163"/>
                <a:gd name="connsiteX52" fmla="*/ 1586 w 346075"/>
                <a:gd name="connsiteY52" fmla="*/ 385466 h 411163"/>
                <a:gd name="connsiteX53" fmla="*/ 793 w 346075"/>
                <a:gd name="connsiteY53" fmla="*/ 382303 h 411163"/>
                <a:gd name="connsiteX54" fmla="*/ 0 w 346075"/>
                <a:gd name="connsiteY54" fmla="*/ 378745 h 411163"/>
                <a:gd name="connsiteX55" fmla="*/ 0 w 346075"/>
                <a:gd name="connsiteY55" fmla="*/ 375186 h 411163"/>
                <a:gd name="connsiteX56" fmla="*/ 0 w 346075"/>
                <a:gd name="connsiteY56" fmla="*/ 36372 h 411163"/>
                <a:gd name="connsiteX57" fmla="*/ 0 w 346075"/>
                <a:gd name="connsiteY57" fmla="*/ 32419 h 411163"/>
                <a:gd name="connsiteX58" fmla="*/ 793 w 346075"/>
                <a:gd name="connsiteY58" fmla="*/ 28861 h 411163"/>
                <a:gd name="connsiteX59" fmla="*/ 1586 w 346075"/>
                <a:gd name="connsiteY59" fmla="*/ 25302 h 411163"/>
                <a:gd name="connsiteX60" fmla="*/ 2775 w 346075"/>
                <a:gd name="connsiteY60" fmla="*/ 22140 h 411163"/>
                <a:gd name="connsiteX61" fmla="*/ 4361 w 346075"/>
                <a:gd name="connsiteY61" fmla="*/ 18977 h 411163"/>
                <a:gd name="connsiteX62" fmla="*/ 5947 w 346075"/>
                <a:gd name="connsiteY62" fmla="*/ 15814 h 411163"/>
                <a:gd name="connsiteX63" fmla="*/ 8325 w 346075"/>
                <a:gd name="connsiteY63" fmla="*/ 13047 h 411163"/>
                <a:gd name="connsiteX64" fmla="*/ 10704 w 346075"/>
                <a:gd name="connsiteY64" fmla="*/ 11070 h 411163"/>
                <a:gd name="connsiteX65" fmla="*/ 13479 w 346075"/>
                <a:gd name="connsiteY65" fmla="*/ 8302 h 411163"/>
                <a:gd name="connsiteX66" fmla="*/ 15857 w 346075"/>
                <a:gd name="connsiteY66" fmla="*/ 6326 h 411163"/>
                <a:gd name="connsiteX67" fmla="*/ 19028 w 346075"/>
                <a:gd name="connsiteY67" fmla="*/ 4744 h 411163"/>
                <a:gd name="connsiteX68" fmla="*/ 22200 w 346075"/>
                <a:gd name="connsiteY68" fmla="*/ 2768 h 411163"/>
                <a:gd name="connsiteX69" fmla="*/ 25371 w 346075"/>
                <a:gd name="connsiteY69" fmla="*/ 1977 h 411163"/>
                <a:gd name="connsiteX70" fmla="*/ 28939 w 346075"/>
                <a:gd name="connsiteY70" fmla="*/ 1186 h 411163"/>
                <a:gd name="connsiteX71" fmla="*/ 32903 w 346075"/>
                <a:gd name="connsiteY71" fmla="*/ 791 h 41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46075" h="411163">
                  <a:moveTo>
                    <a:pt x="46037" y="44450"/>
                  </a:moveTo>
                  <a:lnTo>
                    <a:pt x="46037" y="366713"/>
                  </a:lnTo>
                  <a:lnTo>
                    <a:pt x="301625" y="366713"/>
                  </a:lnTo>
                  <a:lnTo>
                    <a:pt x="301625" y="44450"/>
                  </a:lnTo>
                  <a:close/>
                  <a:moveTo>
                    <a:pt x="36471" y="0"/>
                  </a:moveTo>
                  <a:lnTo>
                    <a:pt x="309605" y="0"/>
                  </a:lnTo>
                  <a:lnTo>
                    <a:pt x="313172" y="791"/>
                  </a:lnTo>
                  <a:lnTo>
                    <a:pt x="317137" y="1186"/>
                  </a:lnTo>
                  <a:lnTo>
                    <a:pt x="320704" y="1977"/>
                  </a:lnTo>
                  <a:lnTo>
                    <a:pt x="323876" y="2768"/>
                  </a:lnTo>
                  <a:lnTo>
                    <a:pt x="327047" y="4744"/>
                  </a:lnTo>
                  <a:lnTo>
                    <a:pt x="330218" y="6326"/>
                  </a:lnTo>
                  <a:lnTo>
                    <a:pt x="332597" y="8302"/>
                  </a:lnTo>
                  <a:lnTo>
                    <a:pt x="334975" y="11070"/>
                  </a:lnTo>
                  <a:lnTo>
                    <a:pt x="337750" y="13047"/>
                  </a:lnTo>
                  <a:lnTo>
                    <a:pt x="339733" y="15814"/>
                  </a:lnTo>
                  <a:lnTo>
                    <a:pt x="341318" y="18977"/>
                  </a:lnTo>
                  <a:lnTo>
                    <a:pt x="343300" y="22140"/>
                  </a:lnTo>
                  <a:lnTo>
                    <a:pt x="344093" y="25302"/>
                  </a:lnTo>
                  <a:lnTo>
                    <a:pt x="344886" y="28861"/>
                  </a:lnTo>
                  <a:lnTo>
                    <a:pt x="346075" y="32419"/>
                  </a:lnTo>
                  <a:lnTo>
                    <a:pt x="346075" y="36372"/>
                  </a:lnTo>
                  <a:lnTo>
                    <a:pt x="346075" y="375186"/>
                  </a:lnTo>
                  <a:lnTo>
                    <a:pt x="346075" y="378745"/>
                  </a:lnTo>
                  <a:lnTo>
                    <a:pt x="344886" y="382303"/>
                  </a:lnTo>
                  <a:lnTo>
                    <a:pt x="344093" y="385466"/>
                  </a:lnTo>
                  <a:lnTo>
                    <a:pt x="343300" y="389024"/>
                  </a:lnTo>
                  <a:lnTo>
                    <a:pt x="341318" y="392186"/>
                  </a:lnTo>
                  <a:lnTo>
                    <a:pt x="339733" y="394954"/>
                  </a:lnTo>
                  <a:lnTo>
                    <a:pt x="337750" y="397721"/>
                  </a:lnTo>
                  <a:lnTo>
                    <a:pt x="334975" y="400489"/>
                  </a:lnTo>
                  <a:lnTo>
                    <a:pt x="332597" y="402466"/>
                  </a:lnTo>
                  <a:lnTo>
                    <a:pt x="330218" y="404838"/>
                  </a:lnTo>
                  <a:lnTo>
                    <a:pt x="327047" y="406814"/>
                  </a:lnTo>
                  <a:lnTo>
                    <a:pt x="323876" y="408000"/>
                  </a:lnTo>
                  <a:lnTo>
                    <a:pt x="320704" y="409186"/>
                  </a:lnTo>
                  <a:lnTo>
                    <a:pt x="317137" y="410373"/>
                  </a:lnTo>
                  <a:lnTo>
                    <a:pt x="313172" y="410768"/>
                  </a:lnTo>
                  <a:lnTo>
                    <a:pt x="309605" y="411163"/>
                  </a:lnTo>
                  <a:lnTo>
                    <a:pt x="36471" y="411163"/>
                  </a:lnTo>
                  <a:lnTo>
                    <a:pt x="32903" y="410768"/>
                  </a:lnTo>
                  <a:lnTo>
                    <a:pt x="28939" y="410373"/>
                  </a:lnTo>
                  <a:lnTo>
                    <a:pt x="25371" y="409186"/>
                  </a:lnTo>
                  <a:lnTo>
                    <a:pt x="22200" y="408000"/>
                  </a:lnTo>
                  <a:lnTo>
                    <a:pt x="19028" y="406814"/>
                  </a:lnTo>
                  <a:lnTo>
                    <a:pt x="15857" y="404838"/>
                  </a:lnTo>
                  <a:lnTo>
                    <a:pt x="13479" y="402466"/>
                  </a:lnTo>
                  <a:lnTo>
                    <a:pt x="10704" y="400489"/>
                  </a:lnTo>
                  <a:lnTo>
                    <a:pt x="8325" y="397721"/>
                  </a:lnTo>
                  <a:lnTo>
                    <a:pt x="5947" y="394954"/>
                  </a:lnTo>
                  <a:lnTo>
                    <a:pt x="4361" y="392186"/>
                  </a:lnTo>
                  <a:lnTo>
                    <a:pt x="2775" y="389024"/>
                  </a:lnTo>
                  <a:lnTo>
                    <a:pt x="1586" y="385466"/>
                  </a:lnTo>
                  <a:lnTo>
                    <a:pt x="793" y="382303"/>
                  </a:lnTo>
                  <a:lnTo>
                    <a:pt x="0" y="378745"/>
                  </a:lnTo>
                  <a:lnTo>
                    <a:pt x="0" y="375186"/>
                  </a:lnTo>
                  <a:lnTo>
                    <a:pt x="0" y="36372"/>
                  </a:lnTo>
                  <a:lnTo>
                    <a:pt x="0" y="32419"/>
                  </a:lnTo>
                  <a:lnTo>
                    <a:pt x="793" y="28861"/>
                  </a:lnTo>
                  <a:lnTo>
                    <a:pt x="1586" y="25302"/>
                  </a:lnTo>
                  <a:lnTo>
                    <a:pt x="2775" y="22140"/>
                  </a:lnTo>
                  <a:lnTo>
                    <a:pt x="4361" y="18977"/>
                  </a:lnTo>
                  <a:lnTo>
                    <a:pt x="5947" y="15814"/>
                  </a:lnTo>
                  <a:lnTo>
                    <a:pt x="8325" y="13047"/>
                  </a:lnTo>
                  <a:lnTo>
                    <a:pt x="10704" y="11070"/>
                  </a:lnTo>
                  <a:lnTo>
                    <a:pt x="13479" y="8302"/>
                  </a:lnTo>
                  <a:lnTo>
                    <a:pt x="15857" y="6326"/>
                  </a:lnTo>
                  <a:lnTo>
                    <a:pt x="19028" y="4744"/>
                  </a:lnTo>
                  <a:lnTo>
                    <a:pt x="22200" y="2768"/>
                  </a:lnTo>
                  <a:lnTo>
                    <a:pt x="25371" y="1977"/>
                  </a:lnTo>
                  <a:lnTo>
                    <a:pt x="28939" y="1186"/>
                  </a:lnTo>
                  <a:lnTo>
                    <a:pt x="32903" y="7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4" name="Freeform 588"/>
            <p:cNvSpPr>
              <a:spLocks/>
            </p:cNvSpPr>
            <p:nvPr/>
          </p:nvSpPr>
          <p:spPr bwMode="auto">
            <a:xfrm>
              <a:off x="7204545" y="3892427"/>
              <a:ext cx="31750" cy="31750"/>
            </a:xfrm>
            <a:custGeom>
              <a:avLst/>
              <a:gdLst>
                <a:gd name="T0" fmla="*/ 80 w 80"/>
                <a:gd name="T1" fmla="*/ 40 h 80"/>
                <a:gd name="T2" fmla="*/ 79 w 80"/>
                <a:gd name="T3" fmla="*/ 48 h 80"/>
                <a:gd name="T4" fmla="*/ 76 w 80"/>
                <a:gd name="T5" fmla="*/ 56 h 80"/>
                <a:gd name="T6" fmla="*/ 73 w 80"/>
                <a:gd name="T7" fmla="*/ 63 h 80"/>
                <a:gd name="T8" fmla="*/ 67 w 80"/>
                <a:gd name="T9" fmla="*/ 69 h 80"/>
                <a:gd name="T10" fmla="*/ 62 w 80"/>
                <a:gd name="T11" fmla="*/ 73 h 80"/>
                <a:gd name="T12" fmla="*/ 55 w 80"/>
                <a:gd name="T13" fmla="*/ 78 h 80"/>
                <a:gd name="T14" fmla="*/ 48 w 80"/>
                <a:gd name="T15" fmla="*/ 80 h 80"/>
                <a:gd name="T16" fmla="*/ 40 w 80"/>
                <a:gd name="T17" fmla="*/ 80 h 80"/>
                <a:gd name="T18" fmla="*/ 32 w 80"/>
                <a:gd name="T19" fmla="*/ 80 h 80"/>
                <a:gd name="T20" fmla="*/ 24 w 80"/>
                <a:gd name="T21" fmla="*/ 78 h 80"/>
                <a:gd name="T22" fmla="*/ 17 w 80"/>
                <a:gd name="T23" fmla="*/ 73 h 80"/>
                <a:gd name="T24" fmla="*/ 11 w 80"/>
                <a:gd name="T25" fmla="*/ 69 h 80"/>
                <a:gd name="T26" fmla="*/ 7 w 80"/>
                <a:gd name="T27" fmla="*/ 63 h 80"/>
                <a:gd name="T28" fmla="*/ 2 w 80"/>
                <a:gd name="T29" fmla="*/ 56 h 80"/>
                <a:gd name="T30" fmla="*/ 0 w 80"/>
                <a:gd name="T31" fmla="*/ 48 h 80"/>
                <a:gd name="T32" fmla="*/ 0 w 80"/>
                <a:gd name="T33" fmla="*/ 40 h 80"/>
                <a:gd name="T34" fmla="*/ 0 w 80"/>
                <a:gd name="T35" fmla="*/ 32 h 80"/>
                <a:gd name="T36" fmla="*/ 2 w 80"/>
                <a:gd name="T37" fmla="*/ 25 h 80"/>
                <a:gd name="T38" fmla="*/ 7 w 80"/>
                <a:gd name="T39" fmla="*/ 18 h 80"/>
                <a:gd name="T40" fmla="*/ 11 w 80"/>
                <a:gd name="T41" fmla="*/ 13 h 80"/>
                <a:gd name="T42" fmla="*/ 17 w 80"/>
                <a:gd name="T43" fmla="*/ 7 h 80"/>
                <a:gd name="T44" fmla="*/ 24 w 80"/>
                <a:gd name="T45" fmla="*/ 4 h 80"/>
                <a:gd name="T46" fmla="*/ 32 w 80"/>
                <a:gd name="T47" fmla="*/ 1 h 80"/>
                <a:gd name="T48" fmla="*/ 40 w 80"/>
                <a:gd name="T49" fmla="*/ 0 h 80"/>
                <a:gd name="T50" fmla="*/ 48 w 80"/>
                <a:gd name="T51" fmla="*/ 1 h 80"/>
                <a:gd name="T52" fmla="*/ 55 w 80"/>
                <a:gd name="T53" fmla="*/ 4 h 80"/>
                <a:gd name="T54" fmla="*/ 62 w 80"/>
                <a:gd name="T55" fmla="*/ 7 h 80"/>
                <a:gd name="T56" fmla="*/ 67 w 80"/>
                <a:gd name="T57" fmla="*/ 13 h 80"/>
                <a:gd name="T58" fmla="*/ 73 w 80"/>
                <a:gd name="T59" fmla="*/ 18 h 80"/>
                <a:gd name="T60" fmla="*/ 76 w 80"/>
                <a:gd name="T61" fmla="*/ 25 h 80"/>
                <a:gd name="T62" fmla="*/ 79 w 80"/>
                <a:gd name="T63" fmla="*/ 32 h 80"/>
                <a:gd name="T64" fmla="*/ 80 w 80"/>
                <a:gd name="T65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79" y="48"/>
                  </a:lnTo>
                  <a:lnTo>
                    <a:pt x="76" y="56"/>
                  </a:lnTo>
                  <a:lnTo>
                    <a:pt x="73" y="63"/>
                  </a:lnTo>
                  <a:lnTo>
                    <a:pt x="67" y="69"/>
                  </a:lnTo>
                  <a:lnTo>
                    <a:pt x="62" y="73"/>
                  </a:lnTo>
                  <a:lnTo>
                    <a:pt x="55" y="78"/>
                  </a:lnTo>
                  <a:lnTo>
                    <a:pt x="48" y="80"/>
                  </a:lnTo>
                  <a:lnTo>
                    <a:pt x="40" y="80"/>
                  </a:lnTo>
                  <a:lnTo>
                    <a:pt x="32" y="80"/>
                  </a:lnTo>
                  <a:lnTo>
                    <a:pt x="24" y="78"/>
                  </a:lnTo>
                  <a:lnTo>
                    <a:pt x="17" y="73"/>
                  </a:lnTo>
                  <a:lnTo>
                    <a:pt x="11" y="69"/>
                  </a:lnTo>
                  <a:lnTo>
                    <a:pt x="7" y="63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5"/>
                  </a:lnTo>
                  <a:lnTo>
                    <a:pt x="7" y="18"/>
                  </a:lnTo>
                  <a:lnTo>
                    <a:pt x="11" y="13"/>
                  </a:lnTo>
                  <a:lnTo>
                    <a:pt x="17" y="7"/>
                  </a:lnTo>
                  <a:lnTo>
                    <a:pt x="24" y="4"/>
                  </a:lnTo>
                  <a:lnTo>
                    <a:pt x="32" y="1"/>
                  </a:lnTo>
                  <a:lnTo>
                    <a:pt x="40" y="0"/>
                  </a:lnTo>
                  <a:lnTo>
                    <a:pt x="48" y="1"/>
                  </a:lnTo>
                  <a:lnTo>
                    <a:pt x="55" y="4"/>
                  </a:lnTo>
                  <a:lnTo>
                    <a:pt x="62" y="7"/>
                  </a:lnTo>
                  <a:lnTo>
                    <a:pt x="67" y="13"/>
                  </a:lnTo>
                  <a:lnTo>
                    <a:pt x="73" y="18"/>
                  </a:lnTo>
                  <a:lnTo>
                    <a:pt x="76" y="25"/>
                  </a:lnTo>
                  <a:lnTo>
                    <a:pt x="79" y="32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589"/>
            <p:cNvSpPr>
              <a:spLocks noChangeArrowheads="1"/>
            </p:cNvSpPr>
            <p:nvPr/>
          </p:nvSpPr>
          <p:spPr bwMode="auto">
            <a:xfrm>
              <a:off x="7258520" y="3898777"/>
              <a:ext cx="171450" cy="19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90"/>
            <p:cNvSpPr>
              <a:spLocks/>
            </p:cNvSpPr>
            <p:nvPr/>
          </p:nvSpPr>
          <p:spPr bwMode="auto">
            <a:xfrm>
              <a:off x="7204545" y="3951164"/>
              <a:ext cx="31750" cy="31750"/>
            </a:xfrm>
            <a:custGeom>
              <a:avLst/>
              <a:gdLst>
                <a:gd name="T0" fmla="*/ 80 w 80"/>
                <a:gd name="T1" fmla="*/ 40 h 80"/>
                <a:gd name="T2" fmla="*/ 79 w 80"/>
                <a:gd name="T3" fmla="*/ 48 h 80"/>
                <a:gd name="T4" fmla="*/ 76 w 80"/>
                <a:gd name="T5" fmla="*/ 56 h 80"/>
                <a:gd name="T6" fmla="*/ 73 w 80"/>
                <a:gd name="T7" fmla="*/ 63 h 80"/>
                <a:gd name="T8" fmla="*/ 67 w 80"/>
                <a:gd name="T9" fmla="*/ 69 h 80"/>
                <a:gd name="T10" fmla="*/ 62 w 80"/>
                <a:gd name="T11" fmla="*/ 73 h 80"/>
                <a:gd name="T12" fmla="*/ 55 w 80"/>
                <a:gd name="T13" fmla="*/ 77 h 80"/>
                <a:gd name="T14" fmla="*/ 48 w 80"/>
                <a:gd name="T15" fmla="*/ 79 h 80"/>
                <a:gd name="T16" fmla="*/ 40 w 80"/>
                <a:gd name="T17" fmla="*/ 80 h 80"/>
                <a:gd name="T18" fmla="*/ 32 w 80"/>
                <a:gd name="T19" fmla="*/ 79 h 80"/>
                <a:gd name="T20" fmla="*/ 24 w 80"/>
                <a:gd name="T21" fmla="*/ 77 h 80"/>
                <a:gd name="T22" fmla="*/ 17 w 80"/>
                <a:gd name="T23" fmla="*/ 73 h 80"/>
                <a:gd name="T24" fmla="*/ 11 w 80"/>
                <a:gd name="T25" fmla="*/ 69 h 80"/>
                <a:gd name="T26" fmla="*/ 7 w 80"/>
                <a:gd name="T27" fmla="*/ 63 h 80"/>
                <a:gd name="T28" fmla="*/ 2 w 80"/>
                <a:gd name="T29" fmla="*/ 56 h 80"/>
                <a:gd name="T30" fmla="*/ 0 w 80"/>
                <a:gd name="T31" fmla="*/ 48 h 80"/>
                <a:gd name="T32" fmla="*/ 0 w 80"/>
                <a:gd name="T33" fmla="*/ 40 h 80"/>
                <a:gd name="T34" fmla="*/ 0 w 80"/>
                <a:gd name="T35" fmla="*/ 32 h 80"/>
                <a:gd name="T36" fmla="*/ 2 w 80"/>
                <a:gd name="T37" fmla="*/ 25 h 80"/>
                <a:gd name="T38" fmla="*/ 7 w 80"/>
                <a:gd name="T39" fmla="*/ 19 h 80"/>
                <a:gd name="T40" fmla="*/ 11 w 80"/>
                <a:gd name="T41" fmla="*/ 12 h 80"/>
                <a:gd name="T42" fmla="*/ 17 w 80"/>
                <a:gd name="T43" fmla="*/ 7 h 80"/>
                <a:gd name="T44" fmla="*/ 24 w 80"/>
                <a:gd name="T45" fmla="*/ 4 h 80"/>
                <a:gd name="T46" fmla="*/ 32 w 80"/>
                <a:gd name="T47" fmla="*/ 2 h 80"/>
                <a:gd name="T48" fmla="*/ 40 w 80"/>
                <a:gd name="T49" fmla="*/ 0 h 80"/>
                <a:gd name="T50" fmla="*/ 48 w 80"/>
                <a:gd name="T51" fmla="*/ 2 h 80"/>
                <a:gd name="T52" fmla="*/ 55 w 80"/>
                <a:gd name="T53" fmla="*/ 4 h 80"/>
                <a:gd name="T54" fmla="*/ 62 w 80"/>
                <a:gd name="T55" fmla="*/ 7 h 80"/>
                <a:gd name="T56" fmla="*/ 67 w 80"/>
                <a:gd name="T57" fmla="*/ 12 h 80"/>
                <a:gd name="T58" fmla="*/ 73 w 80"/>
                <a:gd name="T59" fmla="*/ 19 h 80"/>
                <a:gd name="T60" fmla="*/ 76 w 80"/>
                <a:gd name="T61" fmla="*/ 25 h 80"/>
                <a:gd name="T62" fmla="*/ 79 w 80"/>
                <a:gd name="T63" fmla="*/ 32 h 80"/>
                <a:gd name="T64" fmla="*/ 80 w 80"/>
                <a:gd name="T65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lnTo>
                    <a:pt x="79" y="48"/>
                  </a:lnTo>
                  <a:lnTo>
                    <a:pt x="76" y="56"/>
                  </a:lnTo>
                  <a:lnTo>
                    <a:pt x="73" y="63"/>
                  </a:lnTo>
                  <a:lnTo>
                    <a:pt x="67" y="69"/>
                  </a:lnTo>
                  <a:lnTo>
                    <a:pt x="62" y="73"/>
                  </a:lnTo>
                  <a:lnTo>
                    <a:pt x="55" y="77"/>
                  </a:lnTo>
                  <a:lnTo>
                    <a:pt x="48" y="79"/>
                  </a:lnTo>
                  <a:lnTo>
                    <a:pt x="40" y="80"/>
                  </a:lnTo>
                  <a:lnTo>
                    <a:pt x="32" y="79"/>
                  </a:lnTo>
                  <a:lnTo>
                    <a:pt x="24" y="77"/>
                  </a:lnTo>
                  <a:lnTo>
                    <a:pt x="17" y="73"/>
                  </a:lnTo>
                  <a:lnTo>
                    <a:pt x="11" y="69"/>
                  </a:lnTo>
                  <a:lnTo>
                    <a:pt x="7" y="63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5"/>
                  </a:lnTo>
                  <a:lnTo>
                    <a:pt x="7" y="19"/>
                  </a:lnTo>
                  <a:lnTo>
                    <a:pt x="11" y="12"/>
                  </a:lnTo>
                  <a:lnTo>
                    <a:pt x="17" y="7"/>
                  </a:lnTo>
                  <a:lnTo>
                    <a:pt x="24" y="4"/>
                  </a:lnTo>
                  <a:lnTo>
                    <a:pt x="32" y="2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55" y="4"/>
                  </a:lnTo>
                  <a:lnTo>
                    <a:pt x="62" y="7"/>
                  </a:lnTo>
                  <a:lnTo>
                    <a:pt x="67" y="12"/>
                  </a:lnTo>
                  <a:lnTo>
                    <a:pt x="73" y="19"/>
                  </a:lnTo>
                  <a:lnTo>
                    <a:pt x="76" y="25"/>
                  </a:lnTo>
                  <a:lnTo>
                    <a:pt x="79" y="32"/>
                  </a:lnTo>
                  <a:lnTo>
                    <a:pt x="80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91"/>
            <p:cNvSpPr>
              <a:spLocks noChangeArrowheads="1"/>
            </p:cNvSpPr>
            <p:nvPr/>
          </p:nvSpPr>
          <p:spPr bwMode="auto">
            <a:xfrm>
              <a:off x="7258520" y="3957514"/>
              <a:ext cx="171450" cy="19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92"/>
            <p:cNvSpPr>
              <a:spLocks/>
            </p:cNvSpPr>
            <p:nvPr/>
          </p:nvSpPr>
          <p:spPr bwMode="auto">
            <a:xfrm>
              <a:off x="7204545" y="4009902"/>
              <a:ext cx="31750" cy="31750"/>
            </a:xfrm>
            <a:custGeom>
              <a:avLst/>
              <a:gdLst>
                <a:gd name="T0" fmla="*/ 80 w 80"/>
                <a:gd name="T1" fmla="*/ 39 h 79"/>
                <a:gd name="T2" fmla="*/ 79 w 80"/>
                <a:gd name="T3" fmla="*/ 47 h 79"/>
                <a:gd name="T4" fmla="*/ 76 w 80"/>
                <a:gd name="T5" fmla="*/ 55 h 79"/>
                <a:gd name="T6" fmla="*/ 73 w 80"/>
                <a:gd name="T7" fmla="*/ 62 h 79"/>
                <a:gd name="T8" fmla="*/ 67 w 80"/>
                <a:gd name="T9" fmla="*/ 68 h 79"/>
                <a:gd name="T10" fmla="*/ 62 w 80"/>
                <a:gd name="T11" fmla="*/ 73 h 79"/>
                <a:gd name="T12" fmla="*/ 55 w 80"/>
                <a:gd name="T13" fmla="*/ 76 h 79"/>
                <a:gd name="T14" fmla="*/ 48 w 80"/>
                <a:gd name="T15" fmla="*/ 78 h 79"/>
                <a:gd name="T16" fmla="*/ 40 w 80"/>
                <a:gd name="T17" fmla="*/ 79 h 79"/>
                <a:gd name="T18" fmla="*/ 32 w 80"/>
                <a:gd name="T19" fmla="*/ 78 h 79"/>
                <a:gd name="T20" fmla="*/ 24 w 80"/>
                <a:gd name="T21" fmla="*/ 76 h 79"/>
                <a:gd name="T22" fmla="*/ 17 w 80"/>
                <a:gd name="T23" fmla="*/ 73 h 79"/>
                <a:gd name="T24" fmla="*/ 11 w 80"/>
                <a:gd name="T25" fmla="*/ 68 h 79"/>
                <a:gd name="T26" fmla="*/ 7 w 80"/>
                <a:gd name="T27" fmla="*/ 62 h 79"/>
                <a:gd name="T28" fmla="*/ 2 w 80"/>
                <a:gd name="T29" fmla="*/ 55 h 79"/>
                <a:gd name="T30" fmla="*/ 0 w 80"/>
                <a:gd name="T31" fmla="*/ 47 h 79"/>
                <a:gd name="T32" fmla="*/ 0 w 80"/>
                <a:gd name="T33" fmla="*/ 39 h 79"/>
                <a:gd name="T34" fmla="*/ 0 w 80"/>
                <a:gd name="T35" fmla="*/ 31 h 79"/>
                <a:gd name="T36" fmla="*/ 2 w 80"/>
                <a:gd name="T37" fmla="*/ 23 h 79"/>
                <a:gd name="T38" fmla="*/ 7 w 80"/>
                <a:gd name="T39" fmla="*/ 17 h 79"/>
                <a:gd name="T40" fmla="*/ 11 w 80"/>
                <a:gd name="T41" fmla="*/ 11 h 79"/>
                <a:gd name="T42" fmla="*/ 17 w 80"/>
                <a:gd name="T43" fmla="*/ 6 h 79"/>
                <a:gd name="T44" fmla="*/ 24 w 80"/>
                <a:gd name="T45" fmla="*/ 3 h 79"/>
                <a:gd name="T46" fmla="*/ 32 w 80"/>
                <a:gd name="T47" fmla="*/ 1 h 79"/>
                <a:gd name="T48" fmla="*/ 40 w 80"/>
                <a:gd name="T49" fmla="*/ 0 h 79"/>
                <a:gd name="T50" fmla="*/ 48 w 80"/>
                <a:gd name="T51" fmla="*/ 1 h 79"/>
                <a:gd name="T52" fmla="*/ 55 w 80"/>
                <a:gd name="T53" fmla="*/ 3 h 79"/>
                <a:gd name="T54" fmla="*/ 62 w 80"/>
                <a:gd name="T55" fmla="*/ 6 h 79"/>
                <a:gd name="T56" fmla="*/ 67 w 80"/>
                <a:gd name="T57" fmla="*/ 11 h 79"/>
                <a:gd name="T58" fmla="*/ 73 w 80"/>
                <a:gd name="T59" fmla="*/ 17 h 79"/>
                <a:gd name="T60" fmla="*/ 76 w 80"/>
                <a:gd name="T61" fmla="*/ 23 h 79"/>
                <a:gd name="T62" fmla="*/ 79 w 80"/>
                <a:gd name="T63" fmla="*/ 31 h 79"/>
                <a:gd name="T64" fmla="*/ 80 w 80"/>
                <a:gd name="T65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0" h="79">
                  <a:moveTo>
                    <a:pt x="80" y="39"/>
                  </a:moveTo>
                  <a:lnTo>
                    <a:pt x="79" y="47"/>
                  </a:lnTo>
                  <a:lnTo>
                    <a:pt x="76" y="55"/>
                  </a:lnTo>
                  <a:lnTo>
                    <a:pt x="73" y="62"/>
                  </a:lnTo>
                  <a:lnTo>
                    <a:pt x="67" y="68"/>
                  </a:lnTo>
                  <a:lnTo>
                    <a:pt x="62" y="73"/>
                  </a:lnTo>
                  <a:lnTo>
                    <a:pt x="55" y="76"/>
                  </a:lnTo>
                  <a:lnTo>
                    <a:pt x="48" y="78"/>
                  </a:lnTo>
                  <a:lnTo>
                    <a:pt x="40" y="79"/>
                  </a:lnTo>
                  <a:lnTo>
                    <a:pt x="32" y="78"/>
                  </a:lnTo>
                  <a:lnTo>
                    <a:pt x="24" y="76"/>
                  </a:lnTo>
                  <a:lnTo>
                    <a:pt x="17" y="73"/>
                  </a:lnTo>
                  <a:lnTo>
                    <a:pt x="11" y="68"/>
                  </a:lnTo>
                  <a:lnTo>
                    <a:pt x="7" y="62"/>
                  </a:lnTo>
                  <a:lnTo>
                    <a:pt x="2" y="55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1"/>
                  </a:lnTo>
                  <a:lnTo>
                    <a:pt x="2" y="23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7" y="6"/>
                  </a:lnTo>
                  <a:lnTo>
                    <a:pt x="24" y="3"/>
                  </a:lnTo>
                  <a:lnTo>
                    <a:pt x="32" y="1"/>
                  </a:lnTo>
                  <a:lnTo>
                    <a:pt x="40" y="0"/>
                  </a:lnTo>
                  <a:lnTo>
                    <a:pt x="48" y="1"/>
                  </a:lnTo>
                  <a:lnTo>
                    <a:pt x="55" y="3"/>
                  </a:lnTo>
                  <a:lnTo>
                    <a:pt x="62" y="6"/>
                  </a:lnTo>
                  <a:lnTo>
                    <a:pt x="67" y="11"/>
                  </a:lnTo>
                  <a:lnTo>
                    <a:pt x="73" y="17"/>
                  </a:lnTo>
                  <a:lnTo>
                    <a:pt x="76" y="23"/>
                  </a:lnTo>
                  <a:lnTo>
                    <a:pt x="79" y="31"/>
                  </a:lnTo>
                  <a:lnTo>
                    <a:pt x="80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593"/>
            <p:cNvSpPr>
              <a:spLocks noChangeArrowheads="1"/>
            </p:cNvSpPr>
            <p:nvPr/>
          </p:nvSpPr>
          <p:spPr bwMode="auto">
            <a:xfrm>
              <a:off x="7258520" y="4016252"/>
              <a:ext cx="171450" cy="19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06340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573587" y="1747232"/>
            <a:ext cx="962025" cy="9620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573587" y="2709257"/>
            <a:ext cx="962025" cy="962025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 rot="16200000">
            <a:off x="4573587" y="3671282"/>
            <a:ext cx="962025" cy="962025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573587" y="4633307"/>
            <a:ext cx="962025" cy="9620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535612" y="3665916"/>
            <a:ext cx="962025" cy="962025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611562" y="3665916"/>
            <a:ext cx="962025" cy="9620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649536" y="3665916"/>
            <a:ext cx="962025" cy="962025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92342" y="3795235"/>
            <a:ext cx="47641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P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881618" y="3795235"/>
            <a:ext cx="4219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/>
              <a:t>L</a:t>
            </a:r>
            <a:endParaRPr lang="en-US" sz="4400" dirty="0"/>
          </a:p>
        </p:txBody>
      </p:sp>
      <p:sp>
        <p:nvSpPr>
          <p:cNvPr id="47" name="TextBox 46"/>
          <p:cNvSpPr txBox="1"/>
          <p:nvPr/>
        </p:nvSpPr>
        <p:spPr>
          <a:xfrm>
            <a:off x="4798759" y="3795235"/>
            <a:ext cx="51167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A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742350" y="3795235"/>
            <a:ext cx="5485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N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775515" y="2777887"/>
            <a:ext cx="55816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O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784331" y="1815862"/>
            <a:ext cx="5405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/>
              <a:t>G</a:t>
            </a:r>
            <a:endParaRPr lang="en-US" sz="4400" dirty="0"/>
          </a:p>
        </p:txBody>
      </p:sp>
      <p:sp>
        <p:nvSpPr>
          <p:cNvPr id="51" name="TextBox 50"/>
          <p:cNvSpPr txBox="1"/>
          <p:nvPr/>
        </p:nvSpPr>
        <p:spPr>
          <a:xfrm>
            <a:off x="4843643" y="4688629"/>
            <a:ext cx="4219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 smtClean="0"/>
              <a:t>L</a:t>
            </a:r>
            <a:endParaRPr lang="en-US" sz="4400" dirty="0"/>
          </a:p>
        </p:txBody>
      </p:sp>
      <p:sp>
        <p:nvSpPr>
          <p:cNvPr id="52" name="Rectangle 33"/>
          <p:cNvSpPr>
            <a:spLocks/>
          </p:cNvSpPr>
          <p:nvPr/>
        </p:nvSpPr>
        <p:spPr bwMode="auto">
          <a:xfrm>
            <a:off x="752996" y="3903341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53" name="Rectangle 33"/>
          <p:cNvSpPr>
            <a:spLocks/>
          </p:cNvSpPr>
          <p:nvPr/>
        </p:nvSpPr>
        <p:spPr bwMode="auto">
          <a:xfrm>
            <a:off x="6554536" y="3903341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sp>
        <p:nvSpPr>
          <p:cNvPr id="56" name="Rectangle 33"/>
          <p:cNvSpPr>
            <a:spLocks/>
          </p:cNvSpPr>
          <p:nvPr/>
        </p:nvSpPr>
        <p:spPr bwMode="auto">
          <a:xfrm>
            <a:off x="5666967" y="2855717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685387" y="2319867"/>
            <a:ext cx="797830" cy="797830"/>
            <a:chOff x="3174526" y="2173970"/>
            <a:chExt cx="1733550" cy="1733550"/>
          </a:xfrm>
          <a:solidFill>
            <a:srgbClr val="0D65AC"/>
          </a:solidFill>
        </p:grpSpPr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174526" y="2173970"/>
              <a:ext cx="1733550" cy="1733550"/>
            </a:xfrm>
            <a:custGeom>
              <a:avLst/>
              <a:gdLst>
                <a:gd name="T0" fmla="*/ 2043 w 3456"/>
                <a:gd name="T1" fmla="*/ 373 h 3456"/>
                <a:gd name="T2" fmla="*/ 2320 w 3456"/>
                <a:gd name="T3" fmla="*/ 469 h 3456"/>
                <a:gd name="T4" fmla="*/ 2567 w 3456"/>
                <a:gd name="T5" fmla="*/ 619 h 3456"/>
                <a:gd name="T6" fmla="*/ 2777 w 3456"/>
                <a:gd name="T7" fmla="*/ 814 h 3456"/>
                <a:gd name="T8" fmla="*/ 2942 w 3456"/>
                <a:gd name="T9" fmla="*/ 1050 h 3456"/>
                <a:gd name="T10" fmla="*/ 3057 w 3456"/>
                <a:gd name="T11" fmla="*/ 1318 h 3456"/>
                <a:gd name="T12" fmla="*/ 3113 w 3456"/>
                <a:gd name="T13" fmla="*/ 1611 h 3456"/>
                <a:gd name="T14" fmla="*/ 3106 w 3456"/>
                <a:gd name="T15" fmla="*/ 1913 h 3456"/>
                <a:gd name="T16" fmla="*/ 3037 w 3456"/>
                <a:gd name="T17" fmla="*/ 2201 h 3456"/>
                <a:gd name="T18" fmla="*/ 2909 w 3456"/>
                <a:gd name="T19" fmla="*/ 2461 h 3456"/>
                <a:gd name="T20" fmla="*/ 2733 w 3456"/>
                <a:gd name="T21" fmla="*/ 2689 h 3456"/>
                <a:gd name="T22" fmla="*/ 2515 w 3456"/>
                <a:gd name="T23" fmla="*/ 2875 h 3456"/>
                <a:gd name="T24" fmla="*/ 2260 w 3456"/>
                <a:gd name="T25" fmla="*/ 3013 h 3456"/>
                <a:gd name="T26" fmla="*/ 1977 w 3456"/>
                <a:gd name="T27" fmla="*/ 3096 h 3456"/>
                <a:gd name="T28" fmla="*/ 1678 w 3456"/>
                <a:gd name="T29" fmla="*/ 3118 h 3456"/>
                <a:gd name="T30" fmla="*/ 1380 w 3456"/>
                <a:gd name="T31" fmla="*/ 3076 h 3456"/>
                <a:gd name="T32" fmla="*/ 1107 w 3456"/>
                <a:gd name="T33" fmla="*/ 2973 h 3456"/>
                <a:gd name="T34" fmla="*/ 863 w 3456"/>
                <a:gd name="T35" fmla="*/ 2818 h 3456"/>
                <a:gd name="T36" fmla="*/ 658 w 3456"/>
                <a:gd name="T37" fmla="*/ 2617 h 3456"/>
                <a:gd name="T38" fmla="*/ 498 w 3456"/>
                <a:gd name="T39" fmla="*/ 2378 h 3456"/>
                <a:gd name="T40" fmla="*/ 389 w 3456"/>
                <a:gd name="T41" fmla="*/ 2107 h 3456"/>
                <a:gd name="T42" fmla="*/ 339 w 3456"/>
                <a:gd name="T43" fmla="*/ 1811 h 3456"/>
                <a:gd name="T44" fmla="*/ 354 w 3456"/>
                <a:gd name="T45" fmla="*/ 1511 h 3456"/>
                <a:gd name="T46" fmla="*/ 431 w 3456"/>
                <a:gd name="T47" fmla="*/ 1226 h 3456"/>
                <a:gd name="T48" fmla="*/ 563 w 3456"/>
                <a:gd name="T49" fmla="*/ 968 h 3456"/>
                <a:gd name="T50" fmla="*/ 744 w 3456"/>
                <a:gd name="T51" fmla="*/ 744 h 3456"/>
                <a:gd name="T52" fmla="*/ 968 w 3456"/>
                <a:gd name="T53" fmla="*/ 564 h 3456"/>
                <a:gd name="T54" fmla="*/ 1225 w 3456"/>
                <a:gd name="T55" fmla="*/ 431 h 3456"/>
                <a:gd name="T56" fmla="*/ 1511 w 3456"/>
                <a:gd name="T57" fmla="*/ 354 h 3456"/>
                <a:gd name="T58" fmla="*/ 2572 w 3456"/>
                <a:gd name="T59" fmla="*/ 883 h 3456"/>
                <a:gd name="T60" fmla="*/ 2372 w 3456"/>
                <a:gd name="T61" fmla="*/ 723 h 3456"/>
                <a:gd name="T62" fmla="*/ 2138 w 3456"/>
                <a:gd name="T63" fmla="*/ 607 h 3456"/>
                <a:gd name="T64" fmla="*/ 1880 w 3456"/>
                <a:gd name="T65" fmla="*/ 544 h 3456"/>
                <a:gd name="T66" fmla="*/ 1606 w 3456"/>
                <a:gd name="T67" fmla="*/ 540 h 3456"/>
                <a:gd name="T68" fmla="*/ 1345 w 3456"/>
                <a:gd name="T69" fmla="*/ 597 h 3456"/>
                <a:gd name="T70" fmla="*/ 1109 w 3456"/>
                <a:gd name="T71" fmla="*/ 707 h 3456"/>
                <a:gd name="T72" fmla="*/ 904 w 3456"/>
                <a:gd name="T73" fmla="*/ 864 h 3456"/>
                <a:gd name="T74" fmla="*/ 738 w 3456"/>
                <a:gd name="T75" fmla="*/ 1061 h 3456"/>
                <a:gd name="T76" fmla="*/ 617 w 3456"/>
                <a:gd name="T77" fmla="*/ 1291 h 3456"/>
                <a:gd name="T78" fmla="*/ 548 w 3456"/>
                <a:gd name="T79" fmla="*/ 1547 h 3456"/>
                <a:gd name="T80" fmla="*/ 537 w 3456"/>
                <a:gd name="T81" fmla="*/ 1820 h 3456"/>
                <a:gd name="T82" fmla="*/ 588 w 3456"/>
                <a:gd name="T83" fmla="*/ 2083 h 3456"/>
                <a:gd name="T84" fmla="*/ 692 w 3456"/>
                <a:gd name="T85" fmla="*/ 2322 h 3456"/>
                <a:gd name="T86" fmla="*/ 843 w 3456"/>
                <a:gd name="T87" fmla="*/ 2532 h 3456"/>
                <a:gd name="T88" fmla="*/ 1037 w 3456"/>
                <a:gd name="T89" fmla="*/ 2702 h 3456"/>
                <a:gd name="T90" fmla="*/ 1262 w 3456"/>
                <a:gd name="T91" fmla="*/ 2829 h 3456"/>
                <a:gd name="T92" fmla="*/ 1516 w 3456"/>
                <a:gd name="T93" fmla="*/ 2903 h 3456"/>
                <a:gd name="T94" fmla="*/ 1789 w 3456"/>
                <a:gd name="T95" fmla="*/ 2920 h 3456"/>
                <a:gd name="T96" fmla="*/ 2054 w 3456"/>
                <a:gd name="T97" fmla="*/ 2877 h 3456"/>
                <a:gd name="T98" fmla="*/ 2297 w 3456"/>
                <a:gd name="T99" fmla="*/ 2778 h 3456"/>
                <a:gd name="T100" fmla="*/ 2509 w 3456"/>
                <a:gd name="T101" fmla="*/ 2631 h 3456"/>
                <a:gd name="T102" fmla="*/ 2685 w 3456"/>
                <a:gd name="T103" fmla="*/ 2443 h 3456"/>
                <a:gd name="T104" fmla="*/ 2816 w 3456"/>
                <a:gd name="T105" fmla="*/ 2219 h 3456"/>
                <a:gd name="T106" fmla="*/ 2897 w 3456"/>
                <a:gd name="T107" fmla="*/ 1969 h 3456"/>
                <a:gd name="T108" fmla="*/ 2921 w 3456"/>
                <a:gd name="T109" fmla="*/ 1698 h 3456"/>
                <a:gd name="T110" fmla="*/ 2885 w 3456"/>
                <a:gd name="T111" fmla="*/ 1430 h 3456"/>
                <a:gd name="T112" fmla="*/ 2791 w 3456"/>
                <a:gd name="T113" fmla="*/ 1185 h 3456"/>
                <a:gd name="T114" fmla="*/ 2649 w 3456"/>
                <a:gd name="T115" fmla="*/ 969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56" h="3456">
                  <a:moveTo>
                    <a:pt x="1777" y="338"/>
                  </a:moveTo>
                  <a:lnTo>
                    <a:pt x="1811" y="340"/>
                  </a:lnTo>
                  <a:lnTo>
                    <a:pt x="1845" y="342"/>
                  </a:lnTo>
                  <a:lnTo>
                    <a:pt x="1878" y="346"/>
                  </a:lnTo>
                  <a:lnTo>
                    <a:pt x="1912" y="349"/>
                  </a:lnTo>
                  <a:lnTo>
                    <a:pt x="1945" y="354"/>
                  </a:lnTo>
                  <a:lnTo>
                    <a:pt x="1977" y="360"/>
                  </a:lnTo>
                  <a:lnTo>
                    <a:pt x="2011" y="366"/>
                  </a:lnTo>
                  <a:lnTo>
                    <a:pt x="2043" y="373"/>
                  </a:lnTo>
                  <a:lnTo>
                    <a:pt x="2075" y="381"/>
                  </a:lnTo>
                  <a:lnTo>
                    <a:pt x="2107" y="390"/>
                  </a:lnTo>
                  <a:lnTo>
                    <a:pt x="2138" y="399"/>
                  </a:lnTo>
                  <a:lnTo>
                    <a:pt x="2170" y="409"/>
                  </a:lnTo>
                  <a:lnTo>
                    <a:pt x="2200" y="419"/>
                  </a:lnTo>
                  <a:lnTo>
                    <a:pt x="2230" y="431"/>
                  </a:lnTo>
                  <a:lnTo>
                    <a:pt x="2260" y="443"/>
                  </a:lnTo>
                  <a:lnTo>
                    <a:pt x="2291" y="456"/>
                  </a:lnTo>
                  <a:lnTo>
                    <a:pt x="2320" y="469"/>
                  </a:lnTo>
                  <a:lnTo>
                    <a:pt x="2349" y="484"/>
                  </a:lnTo>
                  <a:lnTo>
                    <a:pt x="2378" y="498"/>
                  </a:lnTo>
                  <a:lnTo>
                    <a:pt x="2406" y="513"/>
                  </a:lnTo>
                  <a:lnTo>
                    <a:pt x="2434" y="529"/>
                  </a:lnTo>
                  <a:lnTo>
                    <a:pt x="2461" y="546"/>
                  </a:lnTo>
                  <a:lnTo>
                    <a:pt x="2488" y="564"/>
                  </a:lnTo>
                  <a:lnTo>
                    <a:pt x="2515" y="581"/>
                  </a:lnTo>
                  <a:lnTo>
                    <a:pt x="2541" y="599"/>
                  </a:lnTo>
                  <a:lnTo>
                    <a:pt x="2567" y="619"/>
                  </a:lnTo>
                  <a:lnTo>
                    <a:pt x="2592" y="638"/>
                  </a:lnTo>
                  <a:lnTo>
                    <a:pt x="2617" y="659"/>
                  </a:lnTo>
                  <a:lnTo>
                    <a:pt x="2642" y="679"/>
                  </a:lnTo>
                  <a:lnTo>
                    <a:pt x="2665" y="701"/>
                  </a:lnTo>
                  <a:lnTo>
                    <a:pt x="2688" y="723"/>
                  </a:lnTo>
                  <a:lnTo>
                    <a:pt x="2711" y="744"/>
                  </a:lnTo>
                  <a:lnTo>
                    <a:pt x="2733" y="768"/>
                  </a:lnTo>
                  <a:lnTo>
                    <a:pt x="2755" y="791"/>
                  </a:lnTo>
                  <a:lnTo>
                    <a:pt x="2777" y="814"/>
                  </a:lnTo>
                  <a:lnTo>
                    <a:pt x="2797" y="839"/>
                  </a:lnTo>
                  <a:lnTo>
                    <a:pt x="2818" y="864"/>
                  </a:lnTo>
                  <a:lnTo>
                    <a:pt x="2837" y="889"/>
                  </a:lnTo>
                  <a:lnTo>
                    <a:pt x="2856" y="915"/>
                  </a:lnTo>
                  <a:lnTo>
                    <a:pt x="2875" y="941"/>
                  </a:lnTo>
                  <a:lnTo>
                    <a:pt x="2892" y="968"/>
                  </a:lnTo>
                  <a:lnTo>
                    <a:pt x="2909" y="995"/>
                  </a:lnTo>
                  <a:lnTo>
                    <a:pt x="2927" y="1022"/>
                  </a:lnTo>
                  <a:lnTo>
                    <a:pt x="2942" y="1050"/>
                  </a:lnTo>
                  <a:lnTo>
                    <a:pt x="2958" y="1078"/>
                  </a:lnTo>
                  <a:lnTo>
                    <a:pt x="2972" y="1107"/>
                  </a:lnTo>
                  <a:lnTo>
                    <a:pt x="2986" y="1136"/>
                  </a:lnTo>
                  <a:lnTo>
                    <a:pt x="3000" y="1165"/>
                  </a:lnTo>
                  <a:lnTo>
                    <a:pt x="3013" y="1196"/>
                  </a:lnTo>
                  <a:lnTo>
                    <a:pt x="3025" y="1226"/>
                  </a:lnTo>
                  <a:lnTo>
                    <a:pt x="3037" y="1256"/>
                  </a:lnTo>
                  <a:lnTo>
                    <a:pt x="3047" y="1286"/>
                  </a:lnTo>
                  <a:lnTo>
                    <a:pt x="3057" y="1318"/>
                  </a:lnTo>
                  <a:lnTo>
                    <a:pt x="3066" y="1349"/>
                  </a:lnTo>
                  <a:lnTo>
                    <a:pt x="3075" y="1381"/>
                  </a:lnTo>
                  <a:lnTo>
                    <a:pt x="3082" y="1413"/>
                  </a:lnTo>
                  <a:lnTo>
                    <a:pt x="3090" y="1445"/>
                  </a:lnTo>
                  <a:lnTo>
                    <a:pt x="3096" y="1479"/>
                  </a:lnTo>
                  <a:lnTo>
                    <a:pt x="3102" y="1511"/>
                  </a:lnTo>
                  <a:lnTo>
                    <a:pt x="3106" y="1544"/>
                  </a:lnTo>
                  <a:lnTo>
                    <a:pt x="3110" y="1578"/>
                  </a:lnTo>
                  <a:lnTo>
                    <a:pt x="3113" y="1611"/>
                  </a:lnTo>
                  <a:lnTo>
                    <a:pt x="3116" y="1645"/>
                  </a:lnTo>
                  <a:lnTo>
                    <a:pt x="3118" y="1679"/>
                  </a:lnTo>
                  <a:lnTo>
                    <a:pt x="3456" y="1679"/>
                  </a:lnTo>
                  <a:lnTo>
                    <a:pt x="3456" y="1778"/>
                  </a:lnTo>
                  <a:lnTo>
                    <a:pt x="3118" y="1778"/>
                  </a:lnTo>
                  <a:lnTo>
                    <a:pt x="3116" y="1811"/>
                  </a:lnTo>
                  <a:lnTo>
                    <a:pt x="3113" y="1846"/>
                  </a:lnTo>
                  <a:lnTo>
                    <a:pt x="3110" y="1879"/>
                  </a:lnTo>
                  <a:lnTo>
                    <a:pt x="3106" y="1913"/>
                  </a:lnTo>
                  <a:lnTo>
                    <a:pt x="3102" y="1945"/>
                  </a:lnTo>
                  <a:lnTo>
                    <a:pt x="3096" y="1979"/>
                  </a:lnTo>
                  <a:lnTo>
                    <a:pt x="3090" y="2011"/>
                  </a:lnTo>
                  <a:lnTo>
                    <a:pt x="3082" y="2043"/>
                  </a:lnTo>
                  <a:lnTo>
                    <a:pt x="3075" y="2076"/>
                  </a:lnTo>
                  <a:lnTo>
                    <a:pt x="3066" y="2107"/>
                  </a:lnTo>
                  <a:lnTo>
                    <a:pt x="3057" y="2138"/>
                  </a:lnTo>
                  <a:lnTo>
                    <a:pt x="3047" y="2170"/>
                  </a:lnTo>
                  <a:lnTo>
                    <a:pt x="3037" y="2201"/>
                  </a:lnTo>
                  <a:lnTo>
                    <a:pt x="3025" y="2231"/>
                  </a:lnTo>
                  <a:lnTo>
                    <a:pt x="3013" y="2262"/>
                  </a:lnTo>
                  <a:lnTo>
                    <a:pt x="3000" y="2291"/>
                  </a:lnTo>
                  <a:lnTo>
                    <a:pt x="2986" y="2320"/>
                  </a:lnTo>
                  <a:lnTo>
                    <a:pt x="2972" y="2349"/>
                  </a:lnTo>
                  <a:lnTo>
                    <a:pt x="2958" y="2378"/>
                  </a:lnTo>
                  <a:lnTo>
                    <a:pt x="2942" y="2406"/>
                  </a:lnTo>
                  <a:lnTo>
                    <a:pt x="2927" y="2434"/>
                  </a:lnTo>
                  <a:lnTo>
                    <a:pt x="2909" y="2461"/>
                  </a:lnTo>
                  <a:lnTo>
                    <a:pt x="2892" y="2488"/>
                  </a:lnTo>
                  <a:lnTo>
                    <a:pt x="2875" y="2515"/>
                  </a:lnTo>
                  <a:lnTo>
                    <a:pt x="2856" y="2541"/>
                  </a:lnTo>
                  <a:lnTo>
                    <a:pt x="2837" y="2567"/>
                  </a:lnTo>
                  <a:lnTo>
                    <a:pt x="2818" y="2593"/>
                  </a:lnTo>
                  <a:lnTo>
                    <a:pt x="2797" y="2617"/>
                  </a:lnTo>
                  <a:lnTo>
                    <a:pt x="2777" y="2642"/>
                  </a:lnTo>
                  <a:lnTo>
                    <a:pt x="2755" y="2665"/>
                  </a:lnTo>
                  <a:lnTo>
                    <a:pt x="2733" y="2689"/>
                  </a:lnTo>
                  <a:lnTo>
                    <a:pt x="2711" y="2712"/>
                  </a:lnTo>
                  <a:lnTo>
                    <a:pt x="2688" y="2735"/>
                  </a:lnTo>
                  <a:lnTo>
                    <a:pt x="2665" y="2756"/>
                  </a:lnTo>
                  <a:lnTo>
                    <a:pt x="2642" y="2777"/>
                  </a:lnTo>
                  <a:lnTo>
                    <a:pt x="2617" y="2798"/>
                  </a:lnTo>
                  <a:lnTo>
                    <a:pt x="2592" y="2818"/>
                  </a:lnTo>
                  <a:lnTo>
                    <a:pt x="2567" y="2837"/>
                  </a:lnTo>
                  <a:lnTo>
                    <a:pt x="2541" y="2857"/>
                  </a:lnTo>
                  <a:lnTo>
                    <a:pt x="2515" y="2875"/>
                  </a:lnTo>
                  <a:lnTo>
                    <a:pt x="2488" y="2893"/>
                  </a:lnTo>
                  <a:lnTo>
                    <a:pt x="2461" y="2911"/>
                  </a:lnTo>
                  <a:lnTo>
                    <a:pt x="2434" y="2927"/>
                  </a:lnTo>
                  <a:lnTo>
                    <a:pt x="2406" y="2943"/>
                  </a:lnTo>
                  <a:lnTo>
                    <a:pt x="2378" y="2958"/>
                  </a:lnTo>
                  <a:lnTo>
                    <a:pt x="2349" y="2973"/>
                  </a:lnTo>
                  <a:lnTo>
                    <a:pt x="2320" y="2987"/>
                  </a:lnTo>
                  <a:lnTo>
                    <a:pt x="2291" y="3000"/>
                  </a:lnTo>
                  <a:lnTo>
                    <a:pt x="2260" y="3013"/>
                  </a:lnTo>
                  <a:lnTo>
                    <a:pt x="2230" y="3025"/>
                  </a:lnTo>
                  <a:lnTo>
                    <a:pt x="2200" y="3037"/>
                  </a:lnTo>
                  <a:lnTo>
                    <a:pt x="2170" y="3048"/>
                  </a:lnTo>
                  <a:lnTo>
                    <a:pt x="2138" y="3057"/>
                  </a:lnTo>
                  <a:lnTo>
                    <a:pt x="2107" y="3067"/>
                  </a:lnTo>
                  <a:lnTo>
                    <a:pt x="2075" y="3076"/>
                  </a:lnTo>
                  <a:lnTo>
                    <a:pt x="2043" y="3083"/>
                  </a:lnTo>
                  <a:lnTo>
                    <a:pt x="2011" y="3090"/>
                  </a:lnTo>
                  <a:lnTo>
                    <a:pt x="1977" y="3096"/>
                  </a:lnTo>
                  <a:lnTo>
                    <a:pt x="1945" y="3102"/>
                  </a:lnTo>
                  <a:lnTo>
                    <a:pt x="1912" y="3107"/>
                  </a:lnTo>
                  <a:lnTo>
                    <a:pt x="1878" y="3111"/>
                  </a:lnTo>
                  <a:lnTo>
                    <a:pt x="1845" y="3115"/>
                  </a:lnTo>
                  <a:lnTo>
                    <a:pt x="1811" y="3117"/>
                  </a:lnTo>
                  <a:lnTo>
                    <a:pt x="1777" y="3118"/>
                  </a:lnTo>
                  <a:lnTo>
                    <a:pt x="1777" y="3456"/>
                  </a:lnTo>
                  <a:lnTo>
                    <a:pt x="1678" y="3456"/>
                  </a:lnTo>
                  <a:lnTo>
                    <a:pt x="1678" y="3118"/>
                  </a:lnTo>
                  <a:lnTo>
                    <a:pt x="1645" y="3117"/>
                  </a:lnTo>
                  <a:lnTo>
                    <a:pt x="1610" y="3115"/>
                  </a:lnTo>
                  <a:lnTo>
                    <a:pt x="1577" y="3111"/>
                  </a:lnTo>
                  <a:lnTo>
                    <a:pt x="1543" y="3107"/>
                  </a:lnTo>
                  <a:lnTo>
                    <a:pt x="1511" y="3102"/>
                  </a:lnTo>
                  <a:lnTo>
                    <a:pt x="1477" y="3096"/>
                  </a:lnTo>
                  <a:lnTo>
                    <a:pt x="1445" y="3090"/>
                  </a:lnTo>
                  <a:lnTo>
                    <a:pt x="1413" y="3083"/>
                  </a:lnTo>
                  <a:lnTo>
                    <a:pt x="1380" y="3076"/>
                  </a:lnTo>
                  <a:lnTo>
                    <a:pt x="1349" y="3067"/>
                  </a:lnTo>
                  <a:lnTo>
                    <a:pt x="1318" y="3057"/>
                  </a:lnTo>
                  <a:lnTo>
                    <a:pt x="1286" y="3048"/>
                  </a:lnTo>
                  <a:lnTo>
                    <a:pt x="1255" y="3037"/>
                  </a:lnTo>
                  <a:lnTo>
                    <a:pt x="1225" y="3025"/>
                  </a:lnTo>
                  <a:lnTo>
                    <a:pt x="1194" y="3013"/>
                  </a:lnTo>
                  <a:lnTo>
                    <a:pt x="1165" y="3000"/>
                  </a:lnTo>
                  <a:lnTo>
                    <a:pt x="1136" y="2987"/>
                  </a:lnTo>
                  <a:lnTo>
                    <a:pt x="1107" y="2973"/>
                  </a:lnTo>
                  <a:lnTo>
                    <a:pt x="1078" y="2958"/>
                  </a:lnTo>
                  <a:lnTo>
                    <a:pt x="1050" y="2943"/>
                  </a:lnTo>
                  <a:lnTo>
                    <a:pt x="1022" y="2927"/>
                  </a:lnTo>
                  <a:lnTo>
                    <a:pt x="995" y="2911"/>
                  </a:lnTo>
                  <a:lnTo>
                    <a:pt x="968" y="2893"/>
                  </a:lnTo>
                  <a:lnTo>
                    <a:pt x="941" y="2875"/>
                  </a:lnTo>
                  <a:lnTo>
                    <a:pt x="915" y="2857"/>
                  </a:lnTo>
                  <a:lnTo>
                    <a:pt x="889" y="2837"/>
                  </a:lnTo>
                  <a:lnTo>
                    <a:pt x="863" y="2818"/>
                  </a:lnTo>
                  <a:lnTo>
                    <a:pt x="839" y="2798"/>
                  </a:lnTo>
                  <a:lnTo>
                    <a:pt x="814" y="2777"/>
                  </a:lnTo>
                  <a:lnTo>
                    <a:pt x="791" y="2756"/>
                  </a:lnTo>
                  <a:lnTo>
                    <a:pt x="767" y="2735"/>
                  </a:lnTo>
                  <a:lnTo>
                    <a:pt x="744" y="2712"/>
                  </a:lnTo>
                  <a:lnTo>
                    <a:pt x="721" y="2689"/>
                  </a:lnTo>
                  <a:lnTo>
                    <a:pt x="700" y="2665"/>
                  </a:lnTo>
                  <a:lnTo>
                    <a:pt x="679" y="2642"/>
                  </a:lnTo>
                  <a:lnTo>
                    <a:pt x="658" y="2617"/>
                  </a:lnTo>
                  <a:lnTo>
                    <a:pt x="638" y="2593"/>
                  </a:lnTo>
                  <a:lnTo>
                    <a:pt x="619" y="2567"/>
                  </a:lnTo>
                  <a:lnTo>
                    <a:pt x="599" y="2541"/>
                  </a:lnTo>
                  <a:lnTo>
                    <a:pt x="581" y="2515"/>
                  </a:lnTo>
                  <a:lnTo>
                    <a:pt x="563" y="2488"/>
                  </a:lnTo>
                  <a:lnTo>
                    <a:pt x="545" y="2461"/>
                  </a:lnTo>
                  <a:lnTo>
                    <a:pt x="529" y="2434"/>
                  </a:lnTo>
                  <a:lnTo>
                    <a:pt x="513" y="2406"/>
                  </a:lnTo>
                  <a:lnTo>
                    <a:pt x="498" y="2378"/>
                  </a:lnTo>
                  <a:lnTo>
                    <a:pt x="483" y="2349"/>
                  </a:lnTo>
                  <a:lnTo>
                    <a:pt x="469" y="2320"/>
                  </a:lnTo>
                  <a:lnTo>
                    <a:pt x="456" y="2291"/>
                  </a:lnTo>
                  <a:lnTo>
                    <a:pt x="443" y="2262"/>
                  </a:lnTo>
                  <a:lnTo>
                    <a:pt x="431" y="2231"/>
                  </a:lnTo>
                  <a:lnTo>
                    <a:pt x="419" y="2201"/>
                  </a:lnTo>
                  <a:lnTo>
                    <a:pt x="408" y="2170"/>
                  </a:lnTo>
                  <a:lnTo>
                    <a:pt x="399" y="2138"/>
                  </a:lnTo>
                  <a:lnTo>
                    <a:pt x="389" y="2107"/>
                  </a:lnTo>
                  <a:lnTo>
                    <a:pt x="380" y="2076"/>
                  </a:lnTo>
                  <a:lnTo>
                    <a:pt x="373" y="2043"/>
                  </a:lnTo>
                  <a:lnTo>
                    <a:pt x="366" y="2011"/>
                  </a:lnTo>
                  <a:lnTo>
                    <a:pt x="360" y="1979"/>
                  </a:lnTo>
                  <a:lnTo>
                    <a:pt x="354" y="1945"/>
                  </a:lnTo>
                  <a:lnTo>
                    <a:pt x="349" y="1913"/>
                  </a:lnTo>
                  <a:lnTo>
                    <a:pt x="345" y="1879"/>
                  </a:lnTo>
                  <a:lnTo>
                    <a:pt x="341" y="1846"/>
                  </a:lnTo>
                  <a:lnTo>
                    <a:pt x="339" y="1811"/>
                  </a:lnTo>
                  <a:lnTo>
                    <a:pt x="338" y="1778"/>
                  </a:lnTo>
                  <a:lnTo>
                    <a:pt x="0" y="1778"/>
                  </a:lnTo>
                  <a:lnTo>
                    <a:pt x="0" y="1679"/>
                  </a:lnTo>
                  <a:lnTo>
                    <a:pt x="338" y="1679"/>
                  </a:lnTo>
                  <a:lnTo>
                    <a:pt x="339" y="1645"/>
                  </a:lnTo>
                  <a:lnTo>
                    <a:pt x="341" y="1611"/>
                  </a:lnTo>
                  <a:lnTo>
                    <a:pt x="345" y="1578"/>
                  </a:lnTo>
                  <a:lnTo>
                    <a:pt x="349" y="1544"/>
                  </a:lnTo>
                  <a:lnTo>
                    <a:pt x="354" y="1511"/>
                  </a:lnTo>
                  <a:lnTo>
                    <a:pt x="360" y="1479"/>
                  </a:lnTo>
                  <a:lnTo>
                    <a:pt x="366" y="1445"/>
                  </a:lnTo>
                  <a:lnTo>
                    <a:pt x="373" y="1413"/>
                  </a:lnTo>
                  <a:lnTo>
                    <a:pt x="380" y="1381"/>
                  </a:lnTo>
                  <a:lnTo>
                    <a:pt x="389" y="1349"/>
                  </a:lnTo>
                  <a:lnTo>
                    <a:pt x="399" y="1318"/>
                  </a:lnTo>
                  <a:lnTo>
                    <a:pt x="408" y="1286"/>
                  </a:lnTo>
                  <a:lnTo>
                    <a:pt x="419" y="1256"/>
                  </a:lnTo>
                  <a:lnTo>
                    <a:pt x="431" y="1226"/>
                  </a:lnTo>
                  <a:lnTo>
                    <a:pt x="443" y="1196"/>
                  </a:lnTo>
                  <a:lnTo>
                    <a:pt x="456" y="1165"/>
                  </a:lnTo>
                  <a:lnTo>
                    <a:pt x="469" y="1136"/>
                  </a:lnTo>
                  <a:lnTo>
                    <a:pt x="483" y="1107"/>
                  </a:lnTo>
                  <a:lnTo>
                    <a:pt x="498" y="1078"/>
                  </a:lnTo>
                  <a:lnTo>
                    <a:pt x="513" y="1050"/>
                  </a:lnTo>
                  <a:lnTo>
                    <a:pt x="529" y="1022"/>
                  </a:lnTo>
                  <a:lnTo>
                    <a:pt x="545" y="995"/>
                  </a:lnTo>
                  <a:lnTo>
                    <a:pt x="563" y="968"/>
                  </a:lnTo>
                  <a:lnTo>
                    <a:pt x="581" y="941"/>
                  </a:lnTo>
                  <a:lnTo>
                    <a:pt x="599" y="915"/>
                  </a:lnTo>
                  <a:lnTo>
                    <a:pt x="619" y="889"/>
                  </a:lnTo>
                  <a:lnTo>
                    <a:pt x="638" y="864"/>
                  </a:lnTo>
                  <a:lnTo>
                    <a:pt x="658" y="839"/>
                  </a:lnTo>
                  <a:lnTo>
                    <a:pt x="679" y="814"/>
                  </a:lnTo>
                  <a:lnTo>
                    <a:pt x="700" y="791"/>
                  </a:lnTo>
                  <a:lnTo>
                    <a:pt x="721" y="768"/>
                  </a:lnTo>
                  <a:lnTo>
                    <a:pt x="744" y="744"/>
                  </a:lnTo>
                  <a:lnTo>
                    <a:pt x="767" y="723"/>
                  </a:lnTo>
                  <a:lnTo>
                    <a:pt x="791" y="701"/>
                  </a:lnTo>
                  <a:lnTo>
                    <a:pt x="814" y="679"/>
                  </a:lnTo>
                  <a:lnTo>
                    <a:pt x="839" y="659"/>
                  </a:lnTo>
                  <a:lnTo>
                    <a:pt x="863" y="638"/>
                  </a:lnTo>
                  <a:lnTo>
                    <a:pt x="889" y="619"/>
                  </a:lnTo>
                  <a:lnTo>
                    <a:pt x="915" y="599"/>
                  </a:lnTo>
                  <a:lnTo>
                    <a:pt x="941" y="581"/>
                  </a:lnTo>
                  <a:lnTo>
                    <a:pt x="968" y="564"/>
                  </a:lnTo>
                  <a:lnTo>
                    <a:pt x="995" y="546"/>
                  </a:lnTo>
                  <a:lnTo>
                    <a:pt x="1022" y="529"/>
                  </a:lnTo>
                  <a:lnTo>
                    <a:pt x="1050" y="513"/>
                  </a:lnTo>
                  <a:lnTo>
                    <a:pt x="1078" y="498"/>
                  </a:lnTo>
                  <a:lnTo>
                    <a:pt x="1107" y="484"/>
                  </a:lnTo>
                  <a:lnTo>
                    <a:pt x="1136" y="469"/>
                  </a:lnTo>
                  <a:lnTo>
                    <a:pt x="1165" y="456"/>
                  </a:lnTo>
                  <a:lnTo>
                    <a:pt x="1194" y="443"/>
                  </a:lnTo>
                  <a:lnTo>
                    <a:pt x="1225" y="431"/>
                  </a:lnTo>
                  <a:lnTo>
                    <a:pt x="1255" y="419"/>
                  </a:lnTo>
                  <a:lnTo>
                    <a:pt x="1286" y="409"/>
                  </a:lnTo>
                  <a:lnTo>
                    <a:pt x="1318" y="399"/>
                  </a:lnTo>
                  <a:lnTo>
                    <a:pt x="1349" y="390"/>
                  </a:lnTo>
                  <a:lnTo>
                    <a:pt x="1380" y="381"/>
                  </a:lnTo>
                  <a:lnTo>
                    <a:pt x="1413" y="373"/>
                  </a:lnTo>
                  <a:lnTo>
                    <a:pt x="1445" y="366"/>
                  </a:lnTo>
                  <a:lnTo>
                    <a:pt x="1477" y="360"/>
                  </a:lnTo>
                  <a:lnTo>
                    <a:pt x="1511" y="354"/>
                  </a:lnTo>
                  <a:lnTo>
                    <a:pt x="1543" y="349"/>
                  </a:lnTo>
                  <a:lnTo>
                    <a:pt x="1577" y="346"/>
                  </a:lnTo>
                  <a:lnTo>
                    <a:pt x="1610" y="342"/>
                  </a:lnTo>
                  <a:lnTo>
                    <a:pt x="1645" y="340"/>
                  </a:lnTo>
                  <a:lnTo>
                    <a:pt x="1678" y="338"/>
                  </a:lnTo>
                  <a:lnTo>
                    <a:pt x="1678" y="0"/>
                  </a:lnTo>
                  <a:lnTo>
                    <a:pt x="1777" y="0"/>
                  </a:lnTo>
                  <a:lnTo>
                    <a:pt x="1777" y="338"/>
                  </a:lnTo>
                  <a:close/>
                  <a:moveTo>
                    <a:pt x="2572" y="883"/>
                  </a:moveTo>
                  <a:lnTo>
                    <a:pt x="2552" y="864"/>
                  </a:lnTo>
                  <a:lnTo>
                    <a:pt x="2530" y="845"/>
                  </a:lnTo>
                  <a:lnTo>
                    <a:pt x="2509" y="825"/>
                  </a:lnTo>
                  <a:lnTo>
                    <a:pt x="2487" y="807"/>
                  </a:lnTo>
                  <a:lnTo>
                    <a:pt x="2464" y="788"/>
                  </a:lnTo>
                  <a:lnTo>
                    <a:pt x="2442" y="771"/>
                  </a:lnTo>
                  <a:lnTo>
                    <a:pt x="2419" y="755"/>
                  </a:lnTo>
                  <a:lnTo>
                    <a:pt x="2395" y="738"/>
                  </a:lnTo>
                  <a:lnTo>
                    <a:pt x="2372" y="723"/>
                  </a:lnTo>
                  <a:lnTo>
                    <a:pt x="2347" y="707"/>
                  </a:lnTo>
                  <a:lnTo>
                    <a:pt x="2322" y="692"/>
                  </a:lnTo>
                  <a:lnTo>
                    <a:pt x="2297" y="678"/>
                  </a:lnTo>
                  <a:lnTo>
                    <a:pt x="2271" y="665"/>
                  </a:lnTo>
                  <a:lnTo>
                    <a:pt x="2245" y="652"/>
                  </a:lnTo>
                  <a:lnTo>
                    <a:pt x="2219" y="639"/>
                  </a:lnTo>
                  <a:lnTo>
                    <a:pt x="2192" y="627"/>
                  </a:lnTo>
                  <a:lnTo>
                    <a:pt x="2165" y="617"/>
                  </a:lnTo>
                  <a:lnTo>
                    <a:pt x="2138" y="607"/>
                  </a:lnTo>
                  <a:lnTo>
                    <a:pt x="2110" y="597"/>
                  </a:lnTo>
                  <a:lnTo>
                    <a:pt x="2083" y="588"/>
                  </a:lnTo>
                  <a:lnTo>
                    <a:pt x="2054" y="580"/>
                  </a:lnTo>
                  <a:lnTo>
                    <a:pt x="2026" y="571"/>
                  </a:lnTo>
                  <a:lnTo>
                    <a:pt x="1997" y="565"/>
                  </a:lnTo>
                  <a:lnTo>
                    <a:pt x="1969" y="558"/>
                  </a:lnTo>
                  <a:lnTo>
                    <a:pt x="1940" y="553"/>
                  </a:lnTo>
                  <a:lnTo>
                    <a:pt x="1909" y="548"/>
                  </a:lnTo>
                  <a:lnTo>
                    <a:pt x="1880" y="544"/>
                  </a:lnTo>
                  <a:lnTo>
                    <a:pt x="1850" y="540"/>
                  </a:lnTo>
                  <a:lnTo>
                    <a:pt x="1820" y="538"/>
                  </a:lnTo>
                  <a:lnTo>
                    <a:pt x="1789" y="536"/>
                  </a:lnTo>
                  <a:lnTo>
                    <a:pt x="1758" y="535"/>
                  </a:lnTo>
                  <a:lnTo>
                    <a:pt x="1728" y="535"/>
                  </a:lnTo>
                  <a:lnTo>
                    <a:pt x="1697" y="535"/>
                  </a:lnTo>
                  <a:lnTo>
                    <a:pt x="1666" y="536"/>
                  </a:lnTo>
                  <a:lnTo>
                    <a:pt x="1636" y="538"/>
                  </a:lnTo>
                  <a:lnTo>
                    <a:pt x="1606" y="540"/>
                  </a:lnTo>
                  <a:lnTo>
                    <a:pt x="1576" y="544"/>
                  </a:lnTo>
                  <a:lnTo>
                    <a:pt x="1545" y="548"/>
                  </a:lnTo>
                  <a:lnTo>
                    <a:pt x="1516" y="553"/>
                  </a:lnTo>
                  <a:lnTo>
                    <a:pt x="1487" y="558"/>
                  </a:lnTo>
                  <a:lnTo>
                    <a:pt x="1458" y="565"/>
                  </a:lnTo>
                  <a:lnTo>
                    <a:pt x="1430" y="571"/>
                  </a:lnTo>
                  <a:lnTo>
                    <a:pt x="1401" y="580"/>
                  </a:lnTo>
                  <a:lnTo>
                    <a:pt x="1373" y="588"/>
                  </a:lnTo>
                  <a:lnTo>
                    <a:pt x="1345" y="597"/>
                  </a:lnTo>
                  <a:lnTo>
                    <a:pt x="1318" y="607"/>
                  </a:lnTo>
                  <a:lnTo>
                    <a:pt x="1289" y="617"/>
                  </a:lnTo>
                  <a:lnTo>
                    <a:pt x="1262" y="627"/>
                  </a:lnTo>
                  <a:lnTo>
                    <a:pt x="1237" y="639"/>
                  </a:lnTo>
                  <a:lnTo>
                    <a:pt x="1210" y="652"/>
                  </a:lnTo>
                  <a:lnTo>
                    <a:pt x="1184" y="665"/>
                  </a:lnTo>
                  <a:lnTo>
                    <a:pt x="1159" y="678"/>
                  </a:lnTo>
                  <a:lnTo>
                    <a:pt x="1134" y="692"/>
                  </a:lnTo>
                  <a:lnTo>
                    <a:pt x="1109" y="707"/>
                  </a:lnTo>
                  <a:lnTo>
                    <a:pt x="1084" y="723"/>
                  </a:lnTo>
                  <a:lnTo>
                    <a:pt x="1061" y="738"/>
                  </a:lnTo>
                  <a:lnTo>
                    <a:pt x="1037" y="755"/>
                  </a:lnTo>
                  <a:lnTo>
                    <a:pt x="1013" y="771"/>
                  </a:lnTo>
                  <a:lnTo>
                    <a:pt x="990" y="788"/>
                  </a:lnTo>
                  <a:lnTo>
                    <a:pt x="969" y="807"/>
                  </a:lnTo>
                  <a:lnTo>
                    <a:pt x="946" y="825"/>
                  </a:lnTo>
                  <a:lnTo>
                    <a:pt x="924" y="845"/>
                  </a:lnTo>
                  <a:lnTo>
                    <a:pt x="904" y="864"/>
                  </a:lnTo>
                  <a:lnTo>
                    <a:pt x="883" y="883"/>
                  </a:lnTo>
                  <a:lnTo>
                    <a:pt x="864" y="904"/>
                  </a:lnTo>
                  <a:lnTo>
                    <a:pt x="843" y="926"/>
                  </a:lnTo>
                  <a:lnTo>
                    <a:pt x="825" y="947"/>
                  </a:lnTo>
                  <a:lnTo>
                    <a:pt x="807" y="969"/>
                  </a:lnTo>
                  <a:lnTo>
                    <a:pt x="788" y="991"/>
                  </a:lnTo>
                  <a:lnTo>
                    <a:pt x="771" y="1014"/>
                  </a:lnTo>
                  <a:lnTo>
                    <a:pt x="754" y="1037"/>
                  </a:lnTo>
                  <a:lnTo>
                    <a:pt x="738" y="1061"/>
                  </a:lnTo>
                  <a:lnTo>
                    <a:pt x="721" y="1084"/>
                  </a:lnTo>
                  <a:lnTo>
                    <a:pt x="706" y="1109"/>
                  </a:lnTo>
                  <a:lnTo>
                    <a:pt x="692" y="1134"/>
                  </a:lnTo>
                  <a:lnTo>
                    <a:pt x="678" y="1159"/>
                  </a:lnTo>
                  <a:lnTo>
                    <a:pt x="664" y="1185"/>
                  </a:lnTo>
                  <a:lnTo>
                    <a:pt x="651" y="1211"/>
                  </a:lnTo>
                  <a:lnTo>
                    <a:pt x="639" y="1237"/>
                  </a:lnTo>
                  <a:lnTo>
                    <a:pt x="627" y="1264"/>
                  </a:lnTo>
                  <a:lnTo>
                    <a:pt x="617" y="1291"/>
                  </a:lnTo>
                  <a:lnTo>
                    <a:pt x="606" y="1318"/>
                  </a:lnTo>
                  <a:lnTo>
                    <a:pt x="596" y="1346"/>
                  </a:lnTo>
                  <a:lnTo>
                    <a:pt x="588" y="1373"/>
                  </a:lnTo>
                  <a:lnTo>
                    <a:pt x="579" y="1402"/>
                  </a:lnTo>
                  <a:lnTo>
                    <a:pt x="571" y="1430"/>
                  </a:lnTo>
                  <a:lnTo>
                    <a:pt x="565" y="1458"/>
                  </a:lnTo>
                  <a:lnTo>
                    <a:pt x="558" y="1487"/>
                  </a:lnTo>
                  <a:lnTo>
                    <a:pt x="553" y="1516"/>
                  </a:lnTo>
                  <a:lnTo>
                    <a:pt x="548" y="1547"/>
                  </a:lnTo>
                  <a:lnTo>
                    <a:pt x="543" y="1576"/>
                  </a:lnTo>
                  <a:lnTo>
                    <a:pt x="540" y="1606"/>
                  </a:lnTo>
                  <a:lnTo>
                    <a:pt x="537" y="1636"/>
                  </a:lnTo>
                  <a:lnTo>
                    <a:pt x="536" y="1666"/>
                  </a:lnTo>
                  <a:lnTo>
                    <a:pt x="535" y="1698"/>
                  </a:lnTo>
                  <a:lnTo>
                    <a:pt x="534" y="1728"/>
                  </a:lnTo>
                  <a:lnTo>
                    <a:pt x="535" y="1759"/>
                  </a:lnTo>
                  <a:lnTo>
                    <a:pt x="536" y="1790"/>
                  </a:lnTo>
                  <a:lnTo>
                    <a:pt x="537" y="1820"/>
                  </a:lnTo>
                  <a:lnTo>
                    <a:pt x="540" y="1850"/>
                  </a:lnTo>
                  <a:lnTo>
                    <a:pt x="543" y="1880"/>
                  </a:lnTo>
                  <a:lnTo>
                    <a:pt x="548" y="1911"/>
                  </a:lnTo>
                  <a:lnTo>
                    <a:pt x="553" y="1940"/>
                  </a:lnTo>
                  <a:lnTo>
                    <a:pt x="558" y="1969"/>
                  </a:lnTo>
                  <a:lnTo>
                    <a:pt x="565" y="1998"/>
                  </a:lnTo>
                  <a:lnTo>
                    <a:pt x="571" y="2026"/>
                  </a:lnTo>
                  <a:lnTo>
                    <a:pt x="579" y="2055"/>
                  </a:lnTo>
                  <a:lnTo>
                    <a:pt x="588" y="2083"/>
                  </a:lnTo>
                  <a:lnTo>
                    <a:pt x="596" y="2111"/>
                  </a:lnTo>
                  <a:lnTo>
                    <a:pt x="606" y="2138"/>
                  </a:lnTo>
                  <a:lnTo>
                    <a:pt x="617" y="2166"/>
                  </a:lnTo>
                  <a:lnTo>
                    <a:pt x="627" y="2193"/>
                  </a:lnTo>
                  <a:lnTo>
                    <a:pt x="639" y="2219"/>
                  </a:lnTo>
                  <a:lnTo>
                    <a:pt x="651" y="2245"/>
                  </a:lnTo>
                  <a:lnTo>
                    <a:pt x="664" y="2271"/>
                  </a:lnTo>
                  <a:lnTo>
                    <a:pt x="678" y="2297"/>
                  </a:lnTo>
                  <a:lnTo>
                    <a:pt x="692" y="2322"/>
                  </a:lnTo>
                  <a:lnTo>
                    <a:pt x="706" y="2347"/>
                  </a:lnTo>
                  <a:lnTo>
                    <a:pt x="721" y="2372"/>
                  </a:lnTo>
                  <a:lnTo>
                    <a:pt x="738" y="2395"/>
                  </a:lnTo>
                  <a:lnTo>
                    <a:pt x="754" y="2419"/>
                  </a:lnTo>
                  <a:lnTo>
                    <a:pt x="771" y="2443"/>
                  </a:lnTo>
                  <a:lnTo>
                    <a:pt x="788" y="2466"/>
                  </a:lnTo>
                  <a:lnTo>
                    <a:pt x="807" y="2487"/>
                  </a:lnTo>
                  <a:lnTo>
                    <a:pt x="825" y="2510"/>
                  </a:lnTo>
                  <a:lnTo>
                    <a:pt x="843" y="2532"/>
                  </a:lnTo>
                  <a:lnTo>
                    <a:pt x="864" y="2552"/>
                  </a:lnTo>
                  <a:lnTo>
                    <a:pt x="883" y="2573"/>
                  </a:lnTo>
                  <a:lnTo>
                    <a:pt x="904" y="2592"/>
                  </a:lnTo>
                  <a:lnTo>
                    <a:pt x="924" y="2613"/>
                  </a:lnTo>
                  <a:lnTo>
                    <a:pt x="946" y="2631"/>
                  </a:lnTo>
                  <a:lnTo>
                    <a:pt x="969" y="2649"/>
                  </a:lnTo>
                  <a:lnTo>
                    <a:pt x="990" y="2668"/>
                  </a:lnTo>
                  <a:lnTo>
                    <a:pt x="1013" y="2685"/>
                  </a:lnTo>
                  <a:lnTo>
                    <a:pt x="1037" y="2702"/>
                  </a:lnTo>
                  <a:lnTo>
                    <a:pt x="1061" y="2718"/>
                  </a:lnTo>
                  <a:lnTo>
                    <a:pt x="1084" y="2735"/>
                  </a:lnTo>
                  <a:lnTo>
                    <a:pt x="1109" y="2750"/>
                  </a:lnTo>
                  <a:lnTo>
                    <a:pt x="1134" y="2764"/>
                  </a:lnTo>
                  <a:lnTo>
                    <a:pt x="1159" y="2778"/>
                  </a:lnTo>
                  <a:lnTo>
                    <a:pt x="1184" y="2792"/>
                  </a:lnTo>
                  <a:lnTo>
                    <a:pt x="1210" y="2805"/>
                  </a:lnTo>
                  <a:lnTo>
                    <a:pt x="1237" y="2817"/>
                  </a:lnTo>
                  <a:lnTo>
                    <a:pt x="1262" y="2829"/>
                  </a:lnTo>
                  <a:lnTo>
                    <a:pt x="1289" y="2839"/>
                  </a:lnTo>
                  <a:lnTo>
                    <a:pt x="1318" y="2850"/>
                  </a:lnTo>
                  <a:lnTo>
                    <a:pt x="1345" y="2860"/>
                  </a:lnTo>
                  <a:lnTo>
                    <a:pt x="1373" y="2868"/>
                  </a:lnTo>
                  <a:lnTo>
                    <a:pt x="1401" y="2877"/>
                  </a:lnTo>
                  <a:lnTo>
                    <a:pt x="1430" y="2885"/>
                  </a:lnTo>
                  <a:lnTo>
                    <a:pt x="1458" y="2891"/>
                  </a:lnTo>
                  <a:lnTo>
                    <a:pt x="1487" y="2898"/>
                  </a:lnTo>
                  <a:lnTo>
                    <a:pt x="1516" y="2903"/>
                  </a:lnTo>
                  <a:lnTo>
                    <a:pt x="1545" y="2908"/>
                  </a:lnTo>
                  <a:lnTo>
                    <a:pt x="1576" y="2913"/>
                  </a:lnTo>
                  <a:lnTo>
                    <a:pt x="1606" y="2916"/>
                  </a:lnTo>
                  <a:lnTo>
                    <a:pt x="1636" y="2919"/>
                  </a:lnTo>
                  <a:lnTo>
                    <a:pt x="1666" y="2920"/>
                  </a:lnTo>
                  <a:lnTo>
                    <a:pt x="1697" y="2921"/>
                  </a:lnTo>
                  <a:lnTo>
                    <a:pt x="1728" y="2922"/>
                  </a:lnTo>
                  <a:lnTo>
                    <a:pt x="1758" y="2921"/>
                  </a:lnTo>
                  <a:lnTo>
                    <a:pt x="1789" y="2920"/>
                  </a:lnTo>
                  <a:lnTo>
                    <a:pt x="1820" y="2919"/>
                  </a:lnTo>
                  <a:lnTo>
                    <a:pt x="1850" y="2916"/>
                  </a:lnTo>
                  <a:lnTo>
                    <a:pt x="1880" y="2913"/>
                  </a:lnTo>
                  <a:lnTo>
                    <a:pt x="1909" y="2908"/>
                  </a:lnTo>
                  <a:lnTo>
                    <a:pt x="1940" y="2903"/>
                  </a:lnTo>
                  <a:lnTo>
                    <a:pt x="1969" y="2898"/>
                  </a:lnTo>
                  <a:lnTo>
                    <a:pt x="1997" y="2891"/>
                  </a:lnTo>
                  <a:lnTo>
                    <a:pt x="2026" y="2885"/>
                  </a:lnTo>
                  <a:lnTo>
                    <a:pt x="2054" y="2877"/>
                  </a:lnTo>
                  <a:lnTo>
                    <a:pt x="2083" y="2868"/>
                  </a:lnTo>
                  <a:lnTo>
                    <a:pt x="2110" y="2860"/>
                  </a:lnTo>
                  <a:lnTo>
                    <a:pt x="2138" y="2850"/>
                  </a:lnTo>
                  <a:lnTo>
                    <a:pt x="2165" y="2839"/>
                  </a:lnTo>
                  <a:lnTo>
                    <a:pt x="2192" y="2829"/>
                  </a:lnTo>
                  <a:lnTo>
                    <a:pt x="2219" y="2817"/>
                  </a:lnTo>
                  <a:lnTo>
                    <a:pt x="2245" y="2805"/>
                  </a:lnTo>
                  <a:lnTo>
                    <a:pt x="2271" y="2792"/>
                  </a:lnTo>
                  <a:lnTo>
                    <a:pt x="2297" y="2778"/>
                  </a:lnTo>
                  <a:lnTo>
                    <a:pt x="2322" y="2764"/>
                  </a:lnTo>
                  <a:lnTo>
                    <a:pt x="2347" y="2750"/>
                  </a:lnTo>
                  <a:lnTo>
                    <a:pt x="2372" y="2735"/>
                  </a:lnTo>
                  <a:lnTo>
                    <a:pt x="2395" y="2718"/>
                  </a:lnTo>
                  <a:lnTo>
                    <a:pt x="2419" y="2702"/>
                  </a:lnTo>
                  <a:lnTo>
                    <a:pt x="2442" y="2685"/>
                  </a:lnTo>
                  <a:lnTo>
                    <a:pt x="2464" y="2668"/>
                  </a:lnTo>
                  <a:lnTo>
                    <a:pt x="2487" y="2649"/>
                  </a:lnTo>
                  <a:lnTo>
                    <a:pt x="2509" y="2631"/>
                  </a:lnTo>
                  <a:lnTo>
                    <a:pt x="2530" y="2613"/>
                  </a:lnTo>
                  <a:lnTo>
                    <a:pt x="2552" y="2592"/>
                  </a:lnTo>
                  <a:lnTo>
                    <a:pt x="2572" y="2573"/>
                  </a:lnTo>
                  <a:lnTo>
                    <a:pt x="2592" y="2552"/>
                  </a:lnTo>
                  <a:lnTo>
                    <a:pt x="2611" y="2532"/>
                  </a:lnTo>
                  <a:lnTo>
                    <a:pt x="2631" y="2510"/>
                  </a:lnTo>
                  <a:lnTo>
                    <a:pt x="2649" y="2487"/>
                  </a:lnTo>
                  <a:lnTo>
                    <a:pt x="2667" y="2466"/>
                  </a:lnTo>
                  <a:lnTo>
                    <a:pt x="2685" y="2443"/>
                  </a:lnTo>
                  <a:lnTo>
                    <a:pt x="2701" y="2419"/>
                  </a:lnTo>
                  <a:lnTo>
                    <a:pt x="2718" y="2395"/>
                  </a:lnTo>
                  <a:lnTo>
                    <a:pt x="2733" y="2372"/>
                  </a:lnTo>
                  <a:lnTo>
                    <a:pt x="2748" y="2347"/>
                  </a:lnTo>
                  <a:lnTo>
                    <a:pt x="2764" y="2322"/>
                  </a:lnTo>
                  <a:lnTo>
                    <a:pt x="2778" y="2297"/>
                  </a:lnTo>
                  <a:lnTo>
                    <a:pt x="2791" y="2271"/>
                  </a:lnTo>
                  <a:lnTo>
                    <a:pt x="2804" y="2245"/>
                  </a:lnTo>
                  <a:lnTo>
                    <a:pt x="2816" y="2219"/>
                  </a:lnTo>
                  <a:lnTo>
                    <a:pt x="2827" y="2193"/>
                  </a:lnTo>
                  <a:lnTo>
                    <a:pt x="2839" y="2166"/>
                  </a:lnTo>
                  <a:lnTo>
                    <a:pt x="2849" y="2138"/>
                  </a:lnTo>
                  <a:lnTo>
                    <a:pt x="2859" y="2111"/>
                  </a:lnTo>
                  <a:lnTo>
                    <a:pt x="2868" y="2083"/>
                  </a:lnTo>
                  <a:lnTo>
                    <a:pt x="2876" y="2055"/>
                  </a:lnTo>
                  <a:lnTo>
                    <a:pt x="2885" y="2026"/>
                  </a:lnTo>
                  <a:lnTo>
                    <a:pt x="2891" y="1998"/>
                  </a:lnTo>
                  <a:lnTo>
                    <a:pt x="2897" y="1969"/>
                  </a:lnTo>
                  <a:lnTo>
                    <a:pt x="2903" y="1940"/>
                  </a:lnTo>
                  <a:lnTo>
                    <a:pt x="2908" y="1911"/>
                  </a:lnTo>
                  <a:lnTo>
                    <a:pt x="2912" y="1880"/>
                  </a:lnTo>
                  <a:lnTo>
                    <a:pt x="2916" y="1850"/>
                  </a:lnTo>
                  <a:lnTo>
                    <a:pt x="2918" y="1820"/>
                  </a:lnTo>
                  <a:lnTo>
                    <a:pt x="2920" y="1790"/>
                  </a:lnTo>
                  <a:lnTo>
                    <a:pt x="2921" y="1759"/>
                  </a:lnTo>
                  <a:lnTo>
                    <a:pt x="2921" y="1728"/>
                  </a:lnTo>
                  <a:lnTo>
                    <a:pt x="2921" y="1698"/>
                  </a:lnTo>
                  <a:lnTo>
                    <a:pt x="2920" y="1666"/>
                  </a:lnTo>
                  <a:lnTo>
                    <a:pt x="2918" y="1636"/>
                  </a:lnTo>
                  <a:lnTo>
                    <a:pt x="2916" y="1606"/>
                  </a:lnTo>
                  <a:lnTo>
                    <a:pt x="2912" y="1576"/>
                  </a:lnTo>
                  <a:lnTo>
                    <a:pt x="2908" y="1547"/>
                  </a:lnTo>
                  <a:lnTo>
                    <a:pt x="2903" y="1516"/>
                  </a:lnTo>
                  <a:lnTo>
                    <a:pt x="2897" y="1487"/>
                  </a:lnTo>
                  <a:lnTo>
                    <a:pt x="2891" y="1458"/>
                  </a:lnTo>
                  <a:lnTo>
                    <a:pt x="2885" y="1430"/>
                  </a:lnTo>
                  <a:lnTo>
                    <a:pt x="2876" y="1402"/>
                  </a:lnTo>
                  <a:lnTo>
                    <a:pt x="2868" y="1373"/>
                  </a:lnTo>
                  <a:lnTo>
                    <a:pt x="2859" y="1346"/>
                  </a:lnTo>
                  <a:lnTo>
                    <a:pt x="2849" y="1318"/>
                  </a:lnTo>
                  <a:lnTo>
                    <a:pt x="2839" y="1291"/>
                  </a:lnTo>
                  <a:lnTo>
                    <a:pt x="2827" y="1264"/>
                  </a:lnTo>
                  <a:lnTo>
                    <a:pt x="2816" y="1237"/>
                  </a:lnTo>
                  <a:lnTo>
                    <a:pt x="2804" y="1211"/>
                  </a:lnTo>
                  <a:lnTo>
                    <a:pt x="2791" y="1185"/>
                  </a:lnTo>
                  <a:lnTo>
                    <a:pt x="2778" y="1159"/>
                  </a:lnTo>
                  <a:lnTo>
                    <a:pt x="2764" y="1134"/>
                  </a:lnTo>
                  <a:lnTo>
                    <a:pt x="2748" y="1109"/>
                  </a:lnTo>
                  <a:lnTo>
                    <a:pt x="2733" y="1084"/>
                  </a:lnTo>
                  <a:lnTo>
                    <a:pt x="2718" y="1061"/>
                  </a:lnTo>
                  <a:lnTo>
                    <a:pt x="2701" y="1037"/>
                  </a:lnTo>
                  <a:lnTo>
                    <a:pt x="2685" y="1014"/>
                  </a:lnTo>
                  <a:lnTo>
                    <a:pt x="2667" y="991"/>
                  </a:lnTo>
                  <a:lnTo>
                    <a:pt x="2649" y="969"/>
                  </a:lnTo>
                  <a:lnTo>
                    <a:pt x="2631" y="947"/>
                  </a:lnTo>
                  <a:lnTo>
                    <a:pt x="2611" y="926"/>
                  </a:lnTo>
                  <a:lnTo>
                    <a:pt x="2592" y="904"/>
                  </a:lnTo>
                  <a:lnTo>
                    <a:pt x="2572" y="8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3607913" y="2607358"/>
              <a:ext cx="866775" cy="866775"/>
            </a:xfrm>
            <a:custGeom>
              <a:avLst/>
              <a:gdLst>
                <a:gd name="T0" fmla="*/ 952 w 1727"/>
                <a:gd name="T1" fmla="*/ 4 h 1727"/>
                <a:gd name="T2" fmla="*/ 1080 w 1727"/>
                <a:gd name="T3" fmla="*/ 27 h 1727"/>
                <a:gd name="T4" fmla="*/ 1275 w 1727"/>
                <a:gd name="T5" fmla="*/ 104 h 1727"/>
                <a:gd name="T6" fmla="*/ 1444 w 1727"/>
                <a:gd name="T7" fmla="*/ 224 h 1727"/>
                <a:gd name="T8" fmla="*/ 1580 w 1727"/>
                <a:gd name="T9" fmla="*/ 380 h 1727"/>
                <a:gd name="T10" fmla="*/ 1675 w 1727"/>
                <a:gd name="T11" fmla="*/ 566 h 1727"/>
                <a:gd name="T12" fmla="*/ 1717 w 1727"/>
                <a:gd name="T13" fmla="*/ 731 h 1727"/>
                <a:gd name="T14" fmla="*/ 1727 w 1727"/>
                <a:gd name="T15" fmla="*/ 841 h 1727"/>
                <a:gd name="T16" fmla="*/ 1722 w 1727"/>
                <a:gd name="T17" fmla="*/ 952 h 1727"/>
                <a:gd name="T18" fmla="*/ 1700 w 1727"/>
                <a:gd name="T19" fmla="*/ 1079 h 1727"/>
                <a:gd name="T20" fmla="*/ 1623 w 1727"/>
                <a:gd name="T21" fmla="*/ 1274 h 1727"/>
                <a:gd name="T22" fmla="*/ 1503 w 1727"/>
                <a:gd name="T23" fmla="*/ 1444 h 1727"/>
                <a:gd name="T24" fmla="*/ 1347 w 1727"/>
                <a:gd name="T25" fmla="*/ 1579 h 1727"/>
                <a:gd name="T26" fmla="*/ 1161 w 1727"/>
                <a:gd name="T27" fmla="*/ 1674 h 1727"/>
                <a:gd name="T28" fmla="*/ 996 w 1727"/>
                <a:gd name="T29" fmla="*/ 1716 h 1727"/>
                <a:gd name="T30" fmla="*/ 886 w 1727"/>
                <a:gd name="T31" fmla="*/ 1726 h 1727"/>
                <a:gd name="T32" fmla="*/ 775 w 1727"/>
                <a:gd name="T33" fmla="*/ 1722 h 1727"/>
                <a:gd name="T34" fmla="*/ 648 w 1727"/>
                <a:gd name="T35" fmla="*/ 1699 h 1727"/>
                <a:gd name="T36" fmla="*/ 452 w 1727"/>
                <a:gd name="T37" fmla="*/ 1622 h 1727"/>
                <a:gd name="T38" fmla="*/ 283 w 1727"/>
                <a:gd name="T39" fmla="*/ 1502 h 1727"/>
                <a:gd name="T40" fmla="*/ 148 w 1727"/>
                <a:gd name="T41" fmla="*/ 1346 h 1727"/>
                <a:gd name="T42" fmla="*/ 53 w 1727"/>
                <a:gd name="T43" fmla="*/ 1160 h 1727"/>
                <a:gd name="T44" fmla="*/ 11 w 1727"/>
                <a:gd name="T45" fmla="*/ 995 h 1727"/>
                <a:gd name="T46" fmla="*/ 1 w 1727"/>
                <a:gd name="T47" fmla="*/ 886 h 1727"/>
                <a:gd name="T48" fmla="*/ 5 w 1727"/>
                <a:gd name="T49" fmla="*/ 774 h 1727"/>
                <a:gd name="T50" fmla="*/ 28 w 1727"/>
                <a:gd name="T51" fmla="*/ 647 h 1727"/>
                <a:gd name="T52" fmla="*/ 105 w 1727"/>
                <a:gd name="T53" fmla="*/ 452 h 1727"/>
                <a:gd name="T54" fmla="*/ 225 w 1727"/>
                <a:gd name="T55" fmla="*/ 283 h 1727"/>
                <a:gd name="T56" fmla="*/ 381 w 1727"/>
                <a:gd name="T57" fmla="*/ 147 h 1727"/>
                <a:gd name="T58" fmla="*/ 567 w 1727"/>
                <a:gd name="T59" fmla="*/ 52 h 1727"/>
                <a:gd name="T60" fmla="*/ 732 w 1727"/>
                <a:gd name="T61" fmla="*/ 10 h 1727"/>
                <a:gd name="T62" fmla="*/ 841 w 1727"/>
                <a:gd name="T63" fmla="*/ 0 h 1727"/>
                <a:gd name="T64" fmla="*/ 1262 w 1727"/>
                <a:gd name="T65" fmla="*/ 329 h 1727"/>
                <a:gd name="T66" fmla="*/ 1123 w 1727"/>
                <a:gd name="T67" fmla="*/ 250 h 1727"/>
                <a:gd name="T68" fmla="*/ 965 w 1727"/>
                <a:gd name="T69" fmla="*/ 204 h 1727"/>
                <a:gd name="T70" fmla="*/ 796 w 1727"/>
                <a:gd name="T71" fmla="*/ 200 h 1727"/>
                <a:gd name="T72" fmla="*/ 635 w 1727"/>
                <a:gd name="T73" fmla="*/ 238 h 1727"/>
                <a:gd name="T74" fmla="*/ 491 w 1727"/>
                <a:gd name="T75" fmla="*/ 310 h 1727"/>
                <a:gd name="T76" fmla="*/ 370 w 1727"/>
                <a:gd name="T77" fmla="*/ 415 h 1727"/>
                <a:gd name="T78" fmla="*/ 278 w 1727"/>
                <a:gd name="T79" fmla="*/ 545 h 1727"/>
                <a:gd name="T80" fmla="*/ 218 w 1727"/>
                <a:gd name="T81" fmla="*/ 697 h 1727"/>
                <a:gd name="T82" fmla="*/ 198 w 1727"/>
                <a:gd name="T83" fmla="*/ 863 h 1727"/>
                <a:gd name="T84" fmla="*/ 218 w 1727"/>
                <a:gd name="T85" fmla="*/ 1029 h 1727"/>
                <a:gd name="T86" fmla="*/ 278 w 1727"/>
                <a:gd name="T87" fmla="*/ 1181 h 1727"/>
                <a:gd name="T88" fmla="*/ 370 w 1727"/>
                <a:gd name="T89" fmla="*/ 1311 h 1727"/>
                <a:gd name="T90" fmla="*/ 491 w 1727"/>
                <a:gd name="T91" fmla="*/ 1416 h 1727"/>
                <a:gd name="T92" fmla="*/ 635 w 1727"/>
                <a:gd name="T93" fmla="*/ 1489 h 1727"/>
                <a:gd name="T94" fmla="*/ 796 w 1727"/>
                <a:gd name="T95" fmla="*/ 1526 h 1727"/>
                <a:gd name="T96" fmla="*/ 965 w 1727"/>
                <a:gd name="T97" fmla="*/ 1522 h 1727"/>
                <a:gd name="T98" fmla="*/ 1123 w 1727"/>
                <a:gd name="T99" fmla="*/ 1478 h 1727"/>
                <a:gd name="T100" fmla="*/ 1262 w 1727"/>
                <a:gd name="T101" fmla="*/ 1398 h 1727"/>
                <a:gd name="T102" fmla="*/ 1378 w 1727"/>
                <a:gd name="T103" fmla="*/ 1287 h 1727"/>
                <a:gd name="T104" fmla="*/ 1464 w 1727"/>
                <a:gd name="T105" fmla="*/ 1152 h 1727"/>
                <a:gd name="T106" fmla="*/ 1516 w 1727"/>
                <a:gd name="T107" fmla="*/ 998 h 1727"/>
                <a:gd name="T108" fmla="*/ 1529 w 1727"/>
                <a:gd name="T109" fmla="*/ 828 h 1727"/>
                <a:gd name="T110" fmla="*/ 1500 w 1727"/>
                <a:gd name="T111" fmla="*/ 665 h 1727"/>
                <a:gd name="T112" fmla="*/ 1434 w 1727"/>
                <a:gd name="T113" fmla="*/ 517 h 1727"/>
                <a:gd name="T114" fmla="*/ 1335 w 1727"/>
                <a:gd name="T115" fmla="*/ 392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7" h="1727">
                  <a:moveTo>
                    <a:pt x="864" y="0"/>
                  </a:moveTo>
                  <a:lnTo>
                    <a:pt x="886" y="0"/>
                  </a:lnTo>
                  <a:lnTo>
                    <a:pt x="908" y="1"/>
                  </a:lnTo>
                  <a:lnTo>
                    <a:pt x="930" y="2"/>
                  </a:lnTo>
                  <a:lnTo>
                    <a:pt x="952" y="4"/>
                  </a:lnTo>
                  <a:lnTo>
                    <a:pt x="974" y="7"/>
                  </a:lnTo>
                  <a:lnTo>
                    <a:pt x="996" y="10"/>
                  </a:lnTo>
                  <a:lnTo>
                    <a:pt x="1016" y="13"/>
                  </a:lnTo>
                  <a:lnTo>
                    <a:pt x="1038" y="17"/>
                  </a:lnTo>
                  <a:lnTo>
                    <a:pt x="1080" y="27"/>
                  </a:lnTo>
                  <a:lnTo>
                    <a:pt x="1121" y="39"/>
                  </a:lnTo>
                  <a:lnTo>
                    <a:pt x="1161" y="52"/>
                  </a:lnTo>
                  <a:lnTo>
                    <a:pt x="1200" y="68"/>
                  </a:lnTo>
                  <a:lnTo>
                    <a:pt x="1238" y="85"/>
                  </a:lnTo>
                  <a:lnTo>
                    <a:pt x="1275" y="104"/>
                  </a:lnTo>
                  <a:lnTo>
                    <a:pt x="1311" y="124"/>
                  </a:lnTo>
                  <a:lnTo>
                    <a:pt x="1347" y="147"/>
                  </a:lnTo>
                  <a:lnTo>
                    <a:pt x="1380" y="172"/>
                  </a:lnTo>
                  <a:lnTo>
                    <a:pt x="1413" y="197"/>
                  </a:lnTo>
                  <a:lnTo>
                    <a:pt x="1444" y="224"/>
                  </a:lnTo>
                  <a:lnTo>
                    <a:pt x="1474" y="253"/>
                  </a:lnTo>
                  <a:lnTo>
                    <a:pt x="1503" y="283"/>
                  </a:lnTo>
                  <a:lnTo>
                    <a:pt x="1530" y="314"/>
                  </a:lnTo>
                  <a:lnTo>
                    <a:pt x="1555" y="347"/>
                  </a:lnTo>
                  <a:lnTo>
                    <a:pt x="1580" y="380"/>
                  </a:lnTo>
                  <a:lnTo>
                    <a:pt x="1602" y="416"/>
                  </a:lnTo>
                  <a:lnTo>
                    <a:pt x="1623" y="452"/>
                  </a:lnTo>
                  <a:lnTo>
                    <a:pt x="1641" y="489"/>
                  </a:lnTo>
                  <a:lnTo>
                    <a:pt x="1659" y="527"/>
                  </a:lnTo>
                  <a:lnTo>
                    <a:pt x="1675" y="566"/>
                  </a:lnTo>
                  <a:lnTo>
                    <a:pt x="1688" y="606"/>
                  </a:lnTo>
                  <a:lnTo>
                    <a:pt x="1700" y="647"/>
                  </a:lnTo>
                  <a:lnTo>
                    <a:pt x="1710" y="689"/>
                  </a:lnTo>
                  <a:lnTo>
                    <a:pt x="1714" y="711"/>
                  </a:lnTo>
                  <a:lnTo>
                    <a:pt x="1717" y="731"/>
                  </a:lnTo>
                  <a:lnTo>
                    <a:pt x="1720" y="753"/>
                  </a:lnTo>
                  <a:lnTo>
                    <a:pt x="1722" y="774"/>
                  </a:lnTo>
                  <a:lnTo>
                    <a:pt x="1725" y="797"/>
                  </a:lnTo>
                  <a:lnTo>
                    <a:pt x="1726" y="819"/>
                  </a:lnTo>
                  <a:lnTo>
                    <a:pt x="1727" y="841"/>
                  </a:lnTo>
                  <a:lnTo>
                    <a:pt x="1727" y="863"/>
                  </a:lnTo>
                  <a:lnTo>
                    <a:pt x="1727" y="886"/>
                  </a:lnTo>
                  <a:lnTo>
                    <a:pt x="1726" y="907"/>
                  </a:lnTo>
                  <a:lnTo>
                    <a:pt x="1725" y="930"/>
                  </a:lnTo>
                  <a:lnTo>
                    <a:pt x="1722" y="952"/>
                  </a:lnTo>
                  <a:lnTo>
                    <a:pt x="1720" y="973"/>
                  </a:lnTo>
                  <a:lnTo>
                    <a:pt x="1717" y="995"/>
                  </a:lnTo>
                  <a:lnTo>
                    <a:pt x="1714" y="1016"/>
                  </a:lnTo>
                  <a:lnTo>
                    <a:pt x="1710" y="1037"/>
                  </a:lnTo>
                  <a:lnTo>
                    <a:pt x="1700" y="1079"/>
                  </a:lnTo>
                  <a:lnTo>
                    <a:pt x="1688" y="1120"/>
                  </a:lnTo>
                  <a:lnTo>
                    <a:pt x="1675" y="1160"/>
                  </a:lnTo>
                  <a:lnTo>
                    <a:pt x="1659" y="1199"/>
                  </a:lnTo>
                  <a:lnTo>
                    <a:pt x="1641" y="1238"/>
                  </a:lnTo>
                  <a:lnTo>
                    <a:pt x="1623" y="1274"/>
                  </a:lnTo>
                  <a:lnTo>
                    <a:pt x="1602" y="1311"/>
                  </a:lnTo>
                  <a:lnTo>
                    <a:pt x="1580" y="1346"/>
                  </a:lnTo>
                  <a:lnTo>
                    <a:pt x="1555" y="1379"/>
                  </a:lnTo>
                  <a:lnTo>
                    <a:pt x="1530" y="1413"/>
                  </a:lnTo>
                  <a:lnTo>
                    <a:pt x="1503" y="1444"/>
                  </a:lnTo>
                  <a:lnTo>
                    <a:pt x="1474" y="1473"/>
                  </a:lnTo>
                  <a:lnTo>
                    <a:pt x="1444" y="1502"/>
                  </a:lnTo>
                  <a:lnTo>
                    <a:pt x="1413" y="1529"/>
                  </a:lnTo>
                  <a:lnTo>
                    <a:pt x="1380" y="1555"/>
                  </a:lnTo>
                  <a:lnTo>
                    <a:pt x="1347" y="1579"/>
                  </a:lnTo>
                  <a:lnTo>
                    <a:pt x="1311" y="1602"/>
                  </a:lnTo>
                  <a:lnTo>
                    <a:pt x="1275" y="1622"/>
                  </a:lnTo>
                  <a:lnTo>
                    <a:pt x="1238" y="1642"/>
                  </a:lnTo>
                  <a:lnTo>
                    <a:pt x="1200" y="1659"/>
                  </a:lnTo>
                  <a:lnTo>
                    <a:pt x="1161" y="1674"/>
                  </a:lnTo>
                  <a:lnTo>
                    <a:pt x="1121" y="1688"/>
                  </a:lnTo>
                  <a:lnTo>
                    <a:pt x="1080" y="1699"/>
                  </a:lnTo>
                  <a:lnTo>
                    <a:pt x="1038" y="1709"/>
                  </a:lnTo>
                  <a:lnTo>
                    <a:pt x="1016" y="1713"/>
                  </a:lnTo>
                  <a:lnTo>
                    <a:pt x="996" y="1716"/>
                  </a:lnTo>
                  <a:lnTo>
                    <a:pt x="974" y="1719"/>
                  </a:lnTo>
                  <a:lnTo>
                    <a:pt x="952" y="1722"/>
                  </a:lnTo>
                  <a:lnTo>
                    <a:pt x="930" y="1724"/>
                  </a:lnTo>
                  <a:lnTo>
                    <a:pt x="908" y="1726"/>
                  </a:lnTo>
                  <a:lnTo>
                    <a:pt x="886" y="1726"/>
                  </a:lnTo>
                  <a:lnTo>
                    <a:pt x="864" y="1727"/>
                  </a:lnTo>
                  <a:lnTo>
                    <a:pt x="841" y="1726"/>
                  </a:lnTo>
                  <a:lnTo>
                    <a:pt x="820" y="1726"/>
                  </a:lnTo>
                  <a:lnTo>
                    <a:pt x="797" y="1724"/>
                  </a:lnTo>
                  <a:lnTo>
                    <a:pt x="775" y="1722"/>
                  </a:lnTo>
                  <a:lnTo>
                    <a:pt x="754" y="1719"/>
                  </a:lnTo>
                  <a:lnTo>
                    <a:pt x="732" y="1716"/>
                  </a:lnTo>
                  <a:lnTo>
                    <a:pt x="711" y="1713"/>
                  </a:lnTo>
                  <a:lnTo>
                    <a:pt x="690" y="1709"/>
                  </a:lnTo>
                  <a:lnTo>
                    <a:pt x="648" y="1699"/>
                  </a:lnTo>
                  <a:lnTo>
                    <a:pt x="607" y="1688"/>
                  </a:lnTo>
                  <a:lnTo>
                    <a:pt x="567" y="1674"/>
                  </a:lnTo>
                  <a:lnTo>
                    <a:pt x="528" y="1659"/>
                  </a:lnTo>
                  <a:lnTo>
                    <a:pt x="489" y="1642"/>
                  </a:lnTo>
                  <a:lnTo>
                    <a:pt x="452" y="1622"/>
                  </a:lnTo>
                  <a:lnTo>
                    <a:pt x="416" y="1602"/>
                  </a:lnTo>
                  <a:lnTo>
                    <a:pt x="381" y="1579"/>
                  </a:lnTo>
                  <a:lnTo>
                    <a:pt x="348" y="1555"/>
                  </a:lnTo>
                  <a:lnTo>
                    <a:pt x="314" y="1529"/>
                  </a:lnTo>
                  <a:lnTo>
                    <a:pt x="283" y="1502"/>
                  </a:lnTo>
                  <a:lnTo>
                    <a:pt x="254" y="1473"/>
                  </a:lnTo>
                  <a:lnTo>
                    <a:pt x="225" y="1444"/>
                  </a:lnTo>
                  <a:lnTo>
                    <a:pt x="198" y="1413"/>
                  </a:lnTo>
                  <a:lnTo>
                    <a:pt x="172" y="1379"/>
                  </a:lnTo>
                  <a:lnTo>
                    <a:pt x="148" y="1346"/>
                  </a:lnTo>
                  <a:lnTo>
                    <a:pt x="125" y="1311"/>
                  </a:lnTo>
                  <a:lnTo>
                    <a:pt x="105" y="1274"/>
                  </a:lnTo>
                  <a:lnTo>
                    <a:pt x="85" y="1238"/>
                  </a:lnTo>
                  <a:lnTo>
                    <a:pt x="68" y="1199"/>
                  </a:lnTo>
                  <a:lnTo>
                    <a:pt x="53" y="1160"/>
                  </a:lnTo>
                  <a:lnTo>
                    <a:pt x="39" y="1120"/>
                  </a:lnTo>
                  <a:lnTo>
                    <a:pt x="28" y="1079"/>
                  </a:lnTo>
                  <a:lnTo>
                    <a:pt x="18" y="1037"/>
                  </a:lnTo>
                  <a:lnTo>
                    <a:pt x="14" y="1016"/>
                  </a:lnTo>
                  <a:lnTo>
                    <a:pt x="11" y="995"/>
                  </a:lnTo>
                  <a:lnTo>
                    <a:pt x="8" y="973"/>
                  </a:lnTo>
                  <a:lnTo>
                    <a:pt x="5" y="952"/>
                  </a:lnTo>
                  <a:lnTo>
                    <a:pt x="3" y="930"/>
                  </a:lnTo>
                  <a:lnTo>
                    <a:pt x="1" y="907"/>
                  </a:lnTo>
                  <a:lnTo>
                    <a:pt x="1" y="886"/>
                  </a:lnTo>
                  <a:lnTo>
                    <a:pt x="0" y="863"/>
                  </a:lnTo>
                  <a:lnTo>
                    <a:pt x="1" y="841"/>
                  </a:lnTo>
                  <a:lnTo>
                    <a:pt x="1" y="819"/>
                  </a:lnTo>
                  <a:lnTo>
                    <a:pt x="3" y="797"/>
                  </a:lnTo>
                  <a:lnTo>
                    <a:pt x="5" y="774"/>
                  </a:lnTo>
                  <a:lnTo>
                    <a:pt x="8" y="753"/>
                  </a:lnTo>
                  <a:lnTo>
                    <a:pt x="11" y="731"/>
                  </a:lnTo>
                  <a:lnTo>
                    <a:pt x="14" y="711"/>
                  </a:lnTo>
                  <a:lnTo>
                    <a:pt x="18" y="689"/>
                  </a:lnTo>
                  <a:lnTo>
                    <a:pt x="28" y="647"/>
                  </a:lnTo>
                  <a:lnTo>
                    <a:pt x="39" y="606"/>
                  </a:lnTo>
                  <a:lnTo>
                    <a:pt x="53" y="566"/>
                  </a:lnTo>
                  <a:lnTo>
                    <a:pt x="68" y="527"/>
                  </a:lnTo>
                  <a:lnTo>
                    <a:pt x="85" y="489"/>
                  </a:lnTo>
                  <a:lnTo>
                    <a:pt x="105" y="452"/>
                  </a:lnTo>
                  <a:lnTo>
                    <a:pt x="125" y="416"/>
                  </a:lnTo>
                  <a:lnTo>
                    <a:pt x="148" y="380"/>
                  </a:lnTo>
                  <a:lnTo>
                    <a:pt x="172" y="347"/>
                  </a:lnTo>
                  <a:lnTo>
                    <a:pt x="198" y="314"/>
                  </a:lnTo>
                  <a:lnTo>
                    <a:pt x="225" y="283"/>
                  </a:lnTo>
                  <a:lnTo>
                    <a:pt x="254" y="253"/>
                  </a:lnTo>
                  <a:lnTo>
                    <a:pt x="283" y="224"/>
                  </a:lnTo>
                  <a:lnTo>
                    <a:pt x="314" y="197"/>
                  </a:lnTo>
                  <a:lnTo>
                    <a:pt x="348" y="172"/>
                  </a:lnTo>
                  <a:lnTo>
                    <a:pt x="381" y="147"/>
                  </a:lnTo>
                  <a:lnTo>
                    <a:pt x="416" y="124"/>
                  </a:lnTo>
                  <a:lnTo>
                    <a:pt x="452" y="104"/>
                  </a:lnTo>
                  <a:lnTo>
                    <a:pt x="489" y="85"/>
                  </a:lnTo>
                  <a:lnTo>
                    <a:pt x="528" y="68"/>
                  </a:lnTo>
                  <a:lnTo>
                    <a:pt x="567" y="52"/>
                  </a:lnTo>
                  <a:lnTo>
                    <a:pt x="607" y="39"/>
                  </a:lnTo>
                  <a:lnTo>
                    <a:pt x="648" y="27"/>
                  </a:lnTo>
                  <a:lnTo>
                    <a:pt x="690" y="17"/>
                  </a:lnTo>
                  <a:lnTo>
                    <a:pt x="711" y="13"/>
                  </a:lnTo>
                  <a:lnTo>
                    <a:pt x="732" y="10"/>
                  </a:lnTo>
                  <a:lnTo>
                    <a:pt x="754" y="7"/>
                  </a:lnTo>
                  <a:lnTo>
                    <a:pt x="775" y="4"/>
                  </a:lnTo>
                  <a:lnTo>
                    <a:pt x="797" y="2"/>
                  </a:lnTo>
                  <a:lnTo>
                    <a:pt x="820" y="1"/>
                  </a:lnTo>
                  <a:lnTo>
                    <a:pt x="841" y="0"/>
                  </a:lnTo>
                  <a:lnTo>
                    <a:pt x="864" y="0"/>
                  </a:lnTo>
                  <a:close/>
                  <a:moveTo>
                    <a:pt x="1335" y="392"/>
                  </a:moveTo>
                  <a:lnTo>
                    <a:pt x="1312" y="369"/>
                  </a:lnTo>
                  <a:lnTo>
                    <a:pt x="1287" y="349"/>
                  </a:lnTo>
                  <a:lnTo>
                    <a:pt x="1262" y="329"/>
                  </a:lnTo>
                  <a:lnTo>
                    <a:pt x="1237" y="310"/>
                  </a:lnTo>
                  <a:lnTo>
                    <a:pt x="1210" y="293"/>
                  </a:lnTo>
                  <a:lnTo>
                    <a:pt x="1181" y="278"/>
                  </a:lnTo>
                  <a:lnTo>
                    <a:pt x="1152" y="263"/>
                  </a:lnTo>
                  <a:lnTo>
                    <a:pt x="1123" y="250"/>
                  </a:lnTo>
                  <a:lnTo>
                    <a:pt x="1093" y="238"/>
                  </a:lnTo>
                  <a:lnTo>
                    <a:pt x="1062" y="227"/>
                  </a:lnTo>
                  <a:lnTo>
                    <a:pt x="1030" y="218"/>
                  </a:lnTo>
                  <a:lnTo>
                    <a:pt x="998" y="211"/>
                  </a:lnTo>
                  <a:lnTo>
                    <a:pt x="965" y="204"/>
                  </a:lnTo>
                  <a:lnTo>
                    <a:pt x="932" y="200"/>
                  </a:lnTo>
                  <a:lnTo>
                    <a:pt x="898" y="198"/>
                  </a:lnTo>
                  <a:lnTo>
                    <a:pt x="864" y="197"/>
                  </a:lnTo>
                  <a:lnTo>
                    <a:pt x="829" y="198"/>
                  </a:lnTo>
                  <a:lnTo>
                    <a:pt x="796" y="200"/>
                  </a:lnTo>
                  <a:lnTo>
                    <a:pt x="762" y="204"/>
                  </a:lnTo>
                  <a:lnTo>
                    <a:pt x="729" y="211"/>
                  </a:lnTo>
                  <a:lnTo>
                    <a:pt x="698" y="218"/>
                  </a:lnTo>
                  <a:lnTo>
                    <a:pt x="665" y="227"/>
                  </a:lnTo>
                  <a:lnTo>
                    <a:pt x="635" y="238"/>
                  </a:lnTo>
                  <a:lnTo>
                    <a:pt x="605" y="250"/>
                  </a:lnTo>
                  <a:lnTo>
                    <a:pt x="575" y="263"/>
                  </a:lnTo>
                  <a:lnTo>
                    <a:pt x="546" y="278"/>
                  </a:lnTo>
                  <a:lnTo>
                    <a:pt x="518" y="293"/>
                  </a:lnTo>
                  <a:lnTo>
                    <a:pt x="491" y="310"/>
                  </a:lnTo>
                  <a:lnTo>
                    <a:pt x="465" y="329"/>
                  </a:lnTo>
                  <a:lnTo>
                    <a:pt x="440" y="349"/>
                  </a:lnTo>
                  <a:lnTo>
                    <a:pt x="416" y="369"/>
                  </a:lnTo>
                  <a:lnTo>
                    <a:pt x="392" y="392"/>
                  </a:lnTo>
                  <a:lnTo>
                    <a:pt x="370" y="415"/>
                  </a:lnTo>
                  <a:lnTo>
                    <a:pt x="350" y="440"/>
                  </a:lnTo>
                  <a:lnTo>
                    <a:pt x="329" y="464"/>
                  </a:lnTo>
                  <a:lnTo>
                    <a:pt x="311" y="490"/>
                  </a:lnTo>
                  <a:lnTo>
                    <a:pt x="294" y="517"/>
                  </a:lnTo>
                  <a:lnTo>
                    <a:pt x="278" y="545"/>
                  </a:lnTo>
                  <a:lnTo>
                    <a:pt x="263" y="575"/>
                  </a:lnTo>
                  <a:lnTo>
                    <a:pt x="249" y="604"/>
                  </a:lnTo>
                  <a:lnTo>
                    <a:pt x="238" y="634"/>
                  </a:lnTo>
                  <a:lnTo>
                    <a:pt x="227" y="665"/>
                  </a:lnTo>
                  <a:lnTo>
                    <a:pt x="218" y="697"/>
                  </a:lnTo>
                  <a:lnTo>
                    <a:pt x="211" y="729"/>
                  </a:lnTo>
                  <a:lnTo>
                    <a:pt x="205" y="761"/>
                  </a:lnTo>
                  <a:lnTo>
                    <a:pt x="201" y="795"/>
                  </a:lnTo>
                  <a:lnTo>
                    <a:pt x="199" y="828"/>
                  </a:lnTo>
                  <a:lnTo>
                    <a:pt x="198" y="863"/>
                  </a:lnTo>
                  <a:lnTo>
                    <a:pt x="199" y="898"/>
                  </a:lnTo>
                  <a:lnTo>
                    <a:pt x="201" y="931"/>
                  </a:lnTo>
                  <a:lnTo>
                    <a:pt x="205" y="965"/>
                  </a:lnTo>
                  <a:lnTo>
                    <a:pt x="211" y="998"/>
                  </a:lnTo>
                  <a:lnTo>
                    <a:pt x="218" y="1029"/>
                  </a:lnTo>
                  <a:lnTo>
                    <a:pt x="227" y="1062"/>
                  </a:lnTo>
                  <a:lnTo>
                    <a:pt x="238" y="1092"/>
                  </a:lnTo>
                  <a:lnTo>
                    <a:pt x="249" y="1122"/>
                  </a:lnTo>
                  <a:lnTo>
                    <a:pt x="263" y="1152"/>
                  </a:lnTo>
                  <a:lnTo>
                    <a:pt x="278" y="1181"/>
                  </a:lnTo>
                  <a:lnTo>
                    <a:pt x="294" y="1209"/>
                  </a:lnTo>
                  <a:lnTo>
                    <a:pt x="311" y="1236"/>
                  </a:lnTo>
                  <a:lnTo>
                    <a:pt x="329" y="1262"/>
                  </a:lnTo>
                  <a:lnTo>
                    <a:pt x="350" y="1287"/>
                  </a:lnTo>
                  <a:lnTo>
                    <a:pt x="370" y="1311"/>
                  </a:lnTo>
                  <a:lnTo>
                    <a:pt x="392" y="1335"/>
                  </a:lnTo>
                  <a:lnTo>
                    <a:pt x="416" y="1357"/>
                  </a:lnTo>
                  <a:lnTo>
                    <a:pt x="440" y="1377"/>
                  </a:lnTo>
                  <a:lnTo>
                    <a:pt x="465" y="1398"/>
                  </a:lnTo>
                  <a:lnTo>
                    <a:pt x="491" y="1416"/>
                  </a:lnTo>
                  <a:lnTo>
                    <a:pt x="518" y="1433"/>
                  </a:lnTo>
                  <a:lnTo>
                    <a:pt x="546" y="1449"/>
                  </a:lnTo>
                  <a:lnTo>
                    <a:pt x="575" y="1463"/>
                  </a:lnTo>
                  <a:lnTo>
                    <a:pt x="605" y="1478"/>
                  </a:lnTo>
                  <a:lnTo>
                    <a:pt x="635" y="1489"/>
                  </a:lnTo>
                  <a:lnTo>
                    <a:pt x="665" y="1500"/>
                  </a:lnTo>
                  <a:lnTo>
                    <a:pt x="698" y="1509"/>
                  </a:lnTo>
                  <a:lnTo>
                    <a:pt x="729" y="1516"/>
                  </a:lnTo>
                  <a:lnTo>
                    <a:pt x="762" y="1522"/>
                  </a:lnTo>
                  <a:lnTo>
                    <a:pt x="796" y="1526"/>
                  </a:lnTo>
                  <a:lnTo>
                    <a:pt x="829" y="1528"/>
                  </a:lnTo>
                  <a:lnTo>
                    <a:pt x="864" y="1529"/>
                  </a:lnTo>
                  <a:lnTo>
                    <a:pt x="898" y="1528"/>
                  </a:lnTo>
                  <a:lnTo>
                    <a:pt x="932" y="1526"/>
                  </a:lnTo>
                  <a:lnTo>
                    <a:pt x="965" y="1522"/>
                  </a:lnTo>
                  <a:lnTo>
                    <a:pt x="998" y="1516"/>
                  </a:lnTo>
                  <a:lnTo>
                    <a:pt x="1030" y="1509"/>
                  </a:lnTo>
                  <a:lnTo>
                    <a:pt x="1062" y="1500"/>
                  </a:lnTo>
                  <a:lnTo>
                    <a:pt x="1093" y="1489"/>
                  </a:lnTo>
                  <a:lnTo>
                    <a:pt x="1123" y="1478"/>
                  </a:lnTo>
                  <a:lnTo>
                    <a:pt x="1152" y="1463"/>
                  </a:lnTo>
                  <a:lnTo>
                    <a:pt x="1181" y="1449"/>
                  </a:lnTo>
                  <a:lnTo>
                    <a:pt x="1210" y="1433"/>
                  </a:lnTo>
                  <a:lnTo>
                    <a:pt x="1237" y="1416"/>
                  </a:lnTo>
                  <a:lnTo>
                    <a:pt x="1262" y="1398"/>
                  </a:lnTo>
                  <a:lnTo>
                    <a:pt x="1287" y="1377"/>
                  </a:lnTo>
                  <a:lnTo>
                    <a:pt x="1312" y="1357"/>
                  </a:lnTo>
                  <a:lnTo>
                    <a:pt x="1335" y="1335"/>
                  </a:lnTo>
                  <a:lnTo>
                    <a:pt x="1357" y="1311"/>
                  </a:lnTo>
                  <a:lnTo>
                    <a:pt x="1378" y="1287"/>
                  </a:lnTo>
                  <a:lnTo>
                    <a:pt x="1397" y="1262"/>
                  </a:lnTo>
                  <a:lnTo>
                    <a:pt x="1416" y="1236"/>
                  </a:lnTo>
                  <a:lnTo>
                    <a:pt x="1434" y="1209"/>
                  </a:lnTo>
                  <a:lnTo>
                    <a:pt x="1449" y="1181"/>
                  </a:lnTo>
                  <a:lnTo>
                    <a:pt x="1464" y="1152"/>
                  </a:lnTo>
                  <a:lnTo>
                    <a:pt x="1477" y="1122"/>
                  </a:lnTo>
                  <a:lnTo>
                    <a:pt x="1489" y="1092"/>
                  </a:lnTo>
                  <a:lnTo>
                    <a:pt x="1500" y="1062"/>
                  </a:lnTo>
                  <a:lnTo>
                    <a:pt x="1509" y="1029"/>
                  </a:lnTo>
                  <a:lnTo>
                    <a:pt x="1516" y="998"/>
                  </a:lnTo>
                  <a:lnTo>
                    <a:pt x="1523" y="965"/>
                  </a:lnTo>
                  <a:lnTo>
                    <a:pt x="1527" y="931"/>
                  </a:lnTo>
                  <a:lnTo>
                    <a:pt x="1529" y="898"/>
                  </a:lnTo>
                  <a:lnTo>
                    <a:pt x="1530" y="863"/>
                  </a:lnTo>
                  <a:lnTo>
                    <a:pt x="1529" y="828"/>
                  </a:lnTo>
                  <a:lnTo>
                    <a:pt x="1527" y="795"/>
                  </a:lnTo>
                  <a:lnTo>
                    <a:pt x="1523" y="761"/>
                  </a:lnTo>
                  <a:lnTo>
                    <a:pt x="1516" y="729"/>
                  </a:lnTo>
                  <a:lnTo>
                    <a:pt x="1509" y="697"/>
                  </a:lnTo>
                  <a:lnTo>
                    <a:pt x="1500" y="665"/>
                  </a:lnTo>
                  <a:lnTo>
                    <a:pt x="1489" y="634"/>
                  </a:lnTo>
                  <a:lnTo>
                    <a:pt x="1477" y="604"/>
                  </a:lnTo>
                  <a:lnTo>
                    <a:pt x="1464" y="575"/>
                  </a:lnTo>
                  <a:lnTo>
                    <a:pt x="1449" y="545"/>
                  </a:lnTo>
                  <a:lnTo>
                    <a:pt x="1434" y="517"/>
                  </a:lnTo>
                  <a:lnTo>
                    <a:pt x="1416" y="490"/>
                  </a:lnTo>
                  <a:lnTo>
                    <a:pt x="1397" y="464"/>
                  </a:lnTo>
                  <a:lnTo>
                    <a:pt x="1378" y="440"/>
                  </a:lnTo>
                  <a:lnTo>
                    <a:pt x="1357" y="415"/>
                  </a:lnTo>
                  <a:lnTo>
                    <a:pt x="1335" y="3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3910883" y="2910328"/>
              <a:ext cx="260835" cy="260835"/>
            </a:xfrm>
            <a:custGeom>
              <a:avLst/>
              <a:gdLst>
                <a:gd name="T0" fmla="*/ 285 w 517"/>
                <a:gd name="T1" fmla="*/ 1 h 517"/>
                <a:gd name="T2" fmla="*/ 324 w 517"/>
                <a:gd name="T3" fmla="*/ 7 h 517"/>
                <a:gd name="T4" fmla="*/ 359 w 517"/>
                <a:gd name="T5" fmla="*/ 20 h 517"/>
                <a:gd name="T6" fmla="*/ 393 w 517"/>
                <a:gd name="T7" fmla="*/ 37 h 517"/>
                <a:gd name="T8" fmla="*/ 423 w 517"/>
                <a:gd name="T9" fmla="*/ 58 h 517"/>
                <a:gd name="T10" fmla="*/ 450 w 517"/>
                <a:gd name="T11" fmla="*/ 84 h 517"/>
                <a:gd name="T12" fmla="*/ 473 w 517"/>
                <a:gd name="T13" fmla="*/ 113 h 517"/>
                <a:gd name="T14" fmla="*/ 492 w 517"/>
                <a:gd name="T15" fmla="*/ 146 h 517"/>
                <a:gd name="T16" fmla="*/ 505 w 517"/>
                <a:gd name="T17" fmla="*/ 181 h 517"/>
                <a:gd name="T18" fmla="*/ 514 w 517"/>
                <a:gd name="T19" fmla="*/ 219 h 517"/>
                <a:gd name="T20" fmla="*/ 517 w 517"/>
                <a:gd name="T21" fmla="*/ 258 h 517"/>
                <a:gd name="T22" fmla="*/ 514 w 517"/>
                <a:gd name="T23" fmla="*/ 298 h 517"/>
                <a:gd name="T24" fmla="*/ 505 w 517"/>
                <a:gd name="T25" fmla="*/ 335 h 517"/>
                <a:gd name="T26" fmla="*/ 492 w 517"/>
                <a:gd name="T27" fmla="*/ 370 h 517"/>
                <a:gd name="T28" fmla="*/ 473 w 517"/>
                <a:gd name="T29" fmla="*/ 403 h 517"/>
                <a:gd name="T30" fmla="*/ 450 w 517"/>
                <a:gd name="T31" fmla="*/ 432 h 517"/>
                <a:gd name="T32" fmla="*/ 423 w 517"/>
                <a:gd name="T33" fmla="*/ 458 h 517"/>
                <a:gd name="T34" fmla="*/ 393 w 517"/>
                <a:gd name="T35" fmla="*/ 479 h 517"/>
                <a:gd name="T36" fmla="*/ 359 w 517"/>
                <a:gd name="T37" fmla="*/ 497 h 517"/>
                <a:gd name="T38" fmla="*/ 324 w 517"/>
                <a:gd name="T39" fmla="*/ 509 h 517"/>
                <a:gd name="T40" fmla="*/ 285 w 517"/>
                <a:gd name="T41" fmla="*/ 515 h 517"/>
                <a:gd name="T42" fmla="*/ 245 w 517"/>
                <a:gd name="T43" fmla="*/ 516 h 517"/>
                <a:gd name="T44" fmla="*/ 207 w 517"/>
                <a:gd name="T45" fmla="*/ 512 h 517"/>
                <a:gd name="T46" fmla="*/ 170 w 517"/>
                <a:gd name="T47" fmla="*/ 501 h 517"/>
                <a:gd name="T48" fmla="*/ 136 w 517"/>
                <a:gd name="T49" fmla="*/ 486 h 517"/>
                <a:gd name="T50" fmla="*/ 105 w 517"/>
                <a:gd name="T51" fmla="*/ 465 h 517"/>
                <a:gd name="T52" fmla="*/ 76 w 517"/>
                <a:gd name="T53" fmla="*/ 441 h 517"/>
                <a:gd name="T54" fmla="*/ 52 w 517"/>
                <a:gd name="T55" fmla="*/ 412 h 517"/>
                <a:gd name="T56" fmla="*/ 31 w 517"/>
                <a:gd name="T57" fmla="*/ 381 h 517"/>
                <a:gd name="T58" fmla="*/ 16 w 517"/>
                <a:gd name="T59" fmla="*/ 347 h 517"/>
                <a:gd name="T60" fmla="*/ 5 w 517"/>
                <a:gd name="T61" fmla="*/ 310 h 517"/>
                <a:gd name="T62" fmla="*/ 1 w 517"/>
                <a:gd name="T63" fmla="*/ 271 h 517"/>
                <a:gd name="T64" fmla="*/ 2 w 517"/>
                <a:gd name="T65" fmla="*/ 232 h 517"/>
                <a:gd name="T66" fmla="*/ 8 w 517"/>
                <a:gd name="T67" fmla="*/ 193 h 517"/>
                <a:gd name="T68" fmla="*/ 20 w 517"/>
                <a:gd name="T69" fmla="*/ 158 h 517"/>
                <a:gd name="T70" fmla="*/ 38 w 517"/>
                <a:gd name="T71" fmla="*/ 124 h 517"/>
                <a:gd name="T72" fmla="*/ 59 w 517"/>
                <a:gd name="T73" fmla="*/ 94 h 517"/>
                <a:gd name="T74" fmla="*/ 85 w 517"/>
                <a:gd name="T75" fmla="*/ 67 h 517"/>
                <a:gd name="T76" fmla="*/ 114 w 517"/>
                <a:gd name="T77" fmla="*/ 44 h 517"/>
                <a:gd name="T78" fmla="*/ 147 w 517"/>
                <a:gd name="T79" fmla="*/ 25 h 517"/>
                <a:gd name="T80" fmla="*/ 182 w 517"/>
                <a:gd name="T81" fmla="*/ 12 h 517"/>
                <a:gd name="T82" fmla="*/ 219 w 517"/>
                <a:gd name="T83" fmla="*/ 3 h 517"/>
                <a:gd name="T84" fmla="*/ 259 w 517"/>
                <a:gd name="T85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17" h="517">
                  <a:moveTo>
                    <a:pt x="259" y="0"/>
                  </a:moveTo>
                  <a:lnTo>
                    <a:pt x="272" y="0"/>
                  </a:lnTo>
                  <a:lnTo>
                    <a:pt x="285" y="1"/>
                  </a:lnTo>
                  <a:lnTo>
                    <a:pt x="298" y="3"/>
                  </a:lnTo>
                  <a:lnTo>
                    <a:pt x="311" y="5"/>
                  </a:lnTo>
                  <a:lnTo>
                    <a:pt x="324" y="7"/>
                  </a:lnTo>
                  <a:lnTo>
                    <a:pt x="336" y="12"/>
                  </a:lnTo>
                  <a:lnTo>
                    <a:pt x="347" y="15"/>
                  </a:lnTo>
                  <a:lnTo>
                    <a:pt x="359" y="20"/>
                  </a:lnTo>
                  <a:lnTo>
                    <a:pt x="371" y="25"/>
                  </a:lnTo>
                  <a:lnTo>
                    <a:pt x="382" y="31"/>
                  </a:lnTo>
                  <a:lnTo>
                    <a:pt x="393" y="37"/>
                  </a:lnTo>
                  <a:lnTo>
                    <a:pt x="404" y="44"/>
                  </a:lnTo>
                  <a:lnTo>
                    <a:pt x="413" y="51"/>
                  </a:lnTo>
                  <a:lnTo>
                    <a:pt x="423" y="58"/>
                  </a:lnTo>
                  <a:lnTo>
                    <a:pt x="433" y="67"/>
                  </a:lnTo>
                  <a:lnTo>
                    <a:pt x="441" y="75"/>
                  </a:lnTo>
                  <a:lnTo>
                    <a:pt x="450" y="84"/>
                  </a:lnTo>
                  <a:lnTo>
                    <a:pt x="458" y="94"/>
                  </a:lnTo>
                  <a:lnTo>
                    <a:pt x="466" y="104"/>
                  </a:lnTo>
                  <a:lnTo>
                    <a:pt x="473" y="113"/>
                  </a:lnTo>
                  <a:lnTo>
                    <a:pt x="479" y="124"/>
                  </a:lnTo>
                  <a:lnTo>
                    <a:pt x="486" y="135"/>
                  </a:lnTo>
                  <a:lnTo>
                    <a:pt x="492" y="146"/>
                  </a:lnTo>
                  <a:lnTo>
                    <a:pt x="497" y="158"/>
                  </a:lnTo>
                  <a:lnTo>
                    <a:pt x="502" y="169"/>
                  </a:lnTo>
                  <a:lnTo>
                    <a:pt x="505" y="181"/>
                  </a:lnTo>
                  <a:lnTo>
                    <a:pt x="509" y="193"/>
                  </a:lnTo>
                  <a:lnTo>
                    <a:pt x="512" y="206"/>
                  </a:lnTo>
                  <a:lnTo>
                    <a:pt x="514" y="219"/>
                  </a:lnTo>
                  <a:lnTo>
                    <a:pt x="516" y="232"/>
                  </a:lnTo>
                  <a:lnTo>
                    <a:pt x="517" y="245"/>
                  </a:lnTo>
                  <a:lnTo>
                    <a:pt x="517" y="258"/>
                  </a:lnTo>
                  <a:lnTo>
                    <a:pt x="517" y="271"/>
                  </a:lnTo>
                  <a:lnTo>
                    <a:pt x="516" y="285"/>
                  </a:lnTo>
                  <a:lnTo>
                    <a:pt x="514" y="298"/>
                  </a:lnTo>
                  <a:lnTo>
                    <a:pt x="512" y="310"/>
                  </a:lnTo>
                  <a:lnTo>
                    <a:pt x="509" y="323"/>
                  </a:lnTo>
                  <a:lnTo>
                    <a:pt x="505" y="335"/>
                  </a:lnTo>
                  <a:lnTo>
                    <a:pt x="502" y="347"/>
                  </a:lnTo>
                  <a:lnTo>
                    <a:pt x="497" y="358"/>
                  </a:lnTo>
                  <a:lnTo>
                    <a:pt x="492" y="370"/>
                  </a:lnTo>
                  <a:lnTo>
                    <a:pt x="486" y="381"/>
                  </a:lnTo>
                  <a:lnTo>
                    <a:pt x="479" y="392"/>
                  </a:lnTo>
                  <a:lnTo>
                    <a:pt x="473" y="403"/>
                  </a:lnTo>
                  <a:lnTo>
                    <a:pt x="466" y="412"/>
                  </a:lnTo>
                  <a:lnTo>
                    <a:pt x="458" y="422"/>
                  </a:lnTo>
                  <a:lnTo>
                    <a:pt x="450" y="432"/>
                  </a:lnTo>
                  <a:lnTo>
                    <a:pt x="441" y="441"/>
                  </a:lnTo>
                  <a:lnTo>
                    <a:pt x="433" y="449"/>
                  </a:lnTo>
                  <a:lnTo>
                    <a:pt x="423" y="458"/>
                  </a:lnTo>
                  <a:lnTo>
                    <a:pt x="413" y="465"/>
                  </a:lnTo>
                  <a:lnTo>
                    <a:pt x="404" y="473"/>
                  </a:lnTo>
                  <a:lnTo>
                    <a:pt x="393" y="479"/>
                  </a:lnTo>
                  <a:lnTo>
                    <a:pt x="382" y="486"/>
                  </a:lnTo>
                  <a:lnTo>
                    <a:pt x="371" y="491"/>
                  </a:lnTo>
                  <a:lnTo>
                    <a:pt x="359" y="497"/>
                  </a:lnTo>
                  <a:lnTo>
                    <a:pt x="347" y="501"/>
                  </a:lnTo>
                  <a:lnTo>
                    <a:pt x="336" y="505"/>
                  </a:lnTo>
                  <a:lnTo>
                    <a:pt x="324" y="509"/>
                  </a:lnTo>
                  <a:lnTo>
                    <a:pt x="311" y="512"/>
                  </a:lnTo>
                  <a:lnTo>
                    <a:pt x="298" y="514"/>
                  </a:lnTo>
                  <a:lnTo>
                    <a:pt x="285" y="515"/>
                  </a:lnTo>
                  <a:lnTo>
                    <a:pt x="272" y="516"/>
                  </a:lnTo>
                  <a:lnTo>
                    <a:pt x="259" y="517"/>
                  </a:lnTo>
                  <a:lnTo>
                    <a:pt x="245" y="516"/>
                  </a:lnTo>
                  <a:lnTo>
                    <a:pt x="232" y="515"/>
                  </a:lnTo>
                  <a:lnTo>
                    <a:pt x="219" y="514"/>
                  </a:lnTo>
                  <a:lnTo>
                    <a:pt x="207" y="512"/>
                  </a:lnTo>
                  <a:lnTo>
                    <a:pt x="194" y="509"/>
                  </a:lnTo>
                  <a:lnTo>
                    <a:pt x="182" y="505"/>
                  </a:lnTo>
                  <a:lnTo>
                    <a:pt x="170" y="501"/>
                  </a:lnTo>
                  <a:lnTo>
                    <a:pt x="158" y="497"/>
                  </a:lnTo>
                  <a:lnTo>
                    <a:pt x="147" y="491"/>
                  </a:lnTo>
                  <a:lnTo>
                    <a:pt x="136" y="486"/>
                  </a:lnTo>
                  <a:lnTo>
                    <a:pt x="125" y="479"/>
                  </a:lnTo>
                  <a:lnTo>
                    <a:pt x="114" y="473"/>
                  </a:lnTo>
                  <a:lnTo>
                    <a:pt x="105" y="465"/>
                  </a:lnTo>
                  <a:lnTo>
                    <a:pt x="95" y="458"/>
                  </a:lnTo>
                  <a:lnTo>
                    <a:pt x="85" y="449"/>
                  </a:lnTo>
                  <a:lnTo>
                    <a:pt x="76" y="441"/>
                  </a:lnTo>
                  <a:lnTo>
                    <a:pt x="68" y="432"/>
                  </a:lnTo>
                  <a:lnTo>
                    <a:pt x="59" y="422"/>
                  </a:lnTo>
                  <a:lnTo>
                    <a:pt x="52" y="412"/>
                  </a:lnTo>
                  <a:lnTo>
                    <a:pt x="44" y="403"/>
                  </a:lnTo>
                  <a:lnTo>
                    <a:pt x="38" y="392"/>
                  </a:lnTo>
                  <a:lnTo>
                    <a:pt x="31" y="381"/>
                  </a:lnTo>
                  <a:lnTo>
                    <a:pt x="26" y="370"/>
                  </a:lnTo>
                  <a:lnTo>
                    <a:pt x="20" y="358"/>
                  </a:lnTo>
                  <a:lnTo>
                    <a:pt x="16" y="347"/>
                  </a:lnTo>
                  <a:lnTo>
                    <a:pt x="12" y="335"/>
                  </a:lnTo>
                  <a:lnTo>
                    <a:pt x="8" y="323"/>
                  </a:lnTo>
                  <a:lnTo>
                    <a:pt x="5" y="310"/>
                  </a:lnTo>
                  <a:lnTo>
                    <a:pt x="3" y="298"/>
                  </a:lnTo>
                  <a:lnTo>
                    <a:pt x="2" y="285"/>
                  </a:lnTo>
                  <a:lnTo>
                    <a:pt x="1" y="271"/>
                  </a:lnTo>
                  <a:lnTo>
                    <a:pt x="0" y="258"/>
                  </a:lnTo>
                  <a:lnTo>
                    <a:pt x="1" y="245"/>
                  </a:lnTo>
                  <a:lnTo>
                    <a:pt x="2" y="232"/>
                  </a:lnTo>
                  <a:lnTo>
                    <a:pt x="3" y="219"/>
                  </a:lnTo>
                  <a:lnTo>
                    <a:pt x="5" y="206"/>
                  </a:lnTo>
                  <a:lnTo>
                    <a:pt x="8" y="193"/>
                  </a:lnTo>
                  <a:lnTo>
                    <a:pt x="12" y="181"/>
                  </a:lnTo>
                  <a:lnTo>
                    <a:pt x="16" y="169"/>
                  </a:lnTo>
                  <a:lnTo>
                    <a:pt x="20" y="158"/>
                  </a:lnTo>
                  <a:lnTo>
                    <a:pt x="26" y="146"/>
                  </a:lnTo>
                  <a:lnTo>
                    <a:pt x="31" y="135"/>
                  </a:lnTo>
                  <a:lnTo>
                    <a:pt x="38" y="124"/>
                  </a:lnTo>
                  <a:lnTo>
                    <a:pt x="44" y="113"/>
                  </a:lnTo>
                  <a:lnTo>
                    <a:pt x="52" y="104"/>
                  </a:lnTo>
                  <a:lnTo>
                    <a:pt x="59" y="94"/>
                  </a:lnTo>
                  <a:lnTo>
                    <a:pt x="68" y="84"/>
                  </a:lnTo>
                  <a:lnTo>
                    <a:pt x="76" y="75"/>
                  </a:lnTo>
                  <a:lnTo>
                    <a:pt x="85" y="67"/>
                  </a:lnTo>
                  <a:lnTo>
                    <a:pt x="95" y="58"/>
                  </a:lnTo>
                  <a:lnTo>
                    <a:pt x="105" y="51"/>
                  </a:lnTo>
                  <a:lnTo>
                    <a:pt x="114" y="44"/>
                  </a:lnTo>
                  <a:lnTo>
                    <a:pt x="125" y="37"/>
                  </a:lnTo>
                  <a:lnTo>
                    <a:pt x="136" y="31"/>
                  </a:lnTo>
                  <a:lnTo>
                    <a:pt x="147" y="25"/>
                  </a:lnTo>
                  <a:lnTo>
                    <a:pt x="158" y="20"/>
                  </a:lnTo>
                  <a:lnTo>
                    <a:pt x="170" y="15"/>
                  </a:lnTo>
                  <a:lnTo>
                    <a:pt x="182" y="12"/>
                  </a:lnTo>
                  <a:lnTo>
                    <a:pt x="194" y="7"/>
                  </a:lnTo>
                  <a:lnTo>
                    <a:pt x="207" y="5"/>
                  </a:lnTo>
                  <a:lnTo>
                    <a:pt x="219" y="3"/>
                  </a:lnTo>
                  <a:lnTo>
                    <a:pt x="232" y="1"/>
                  </a:lnTo>
                  <a:lnTo>
                    <a:pt x="245" y="0"/>
                  </a:lnTo>
                  <a:lnTo>
                    <a:pt x="2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Rectangle 33"/>
          <p:cNvSpPr>
            <a:spLocks/>
          </p:cNvSpPr>
          <p:nvPr/>
        </p:nvSpPr>
        <p:spPr bwMode="auto">
          <a:xfrm>
            <a:off x="2528133" y="2431066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>
                <a:solidFill>
                  <a:srgbClr val="0D65AC"/>
                </a:solidFill>
              </a:rPr>
              <a:t>Lorem</a:t>
            </a:r>
            <a:r>
              <a:rPr lang="en-US" sz="1100" b="1" dirty="0">
                <a:solidFill>
                  <a:srgbClr val="0D65AC"/>
                </a:solidFill>
              </a:rPr>
              <a:t> </a:t>
            </a:r>
            <a:r>
              <a:rPr lang="en-US" sz="1100" b="1" dirty="0" err="1">
                <a:solidFill>
                  <a:srgbClr val="0D65AC"/>
                </a:solidFill>
              </a:rPr>
              <a:t>Ipsum</a:t>
            </a:r>
            <a:r>
              <a:rPr lang="en-US" sz="1100" b="1" dirty="0">
                <a:solidFill>
                  <a:srgbClr val="0D65AC"/>
                </a:solidFill>
              </a:rPr>
              <a:t> </a:t>
            </a:r>
            <a:r>
              <a:rPr lang="en-US" sz="1100" dirty="0">
                <a:solidFill>
                  <a:srgbClr val="0D65AC"/>
                </a:solidFill>
              </a:rPr>
              <a:t>is simply dummy text of the printing and typesetting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2076450" y="3095625"/>
            <a:ext cx="2497263" cy="567609"/>
            <a:chOff x="2076450" y="3095625"/>
            <a:chExt cx="2497263" cy="567609"/>
          </a:xfrm>
        </p:grpSpPr>
        <p:cxnSp>
          <p:nvCxnSpPr>
            <p:cNvPr id="8" name="Straight Connector 7"/>
            <p:cNvCxnSpPr/>
            <p:nvPr/>
          </p:nvCxnSpPr>
          <p:spPr>
            <a:xfrm flipH="1" flipV="1">
              <a:off x="3867150" y="3095625"/>
              <a:ext cx="706563" cy="567609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2076450" y="3101331"/>
              <a:ext cx="1793677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14616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9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25" name="Freeform 15"/>
          <p:cNvSpPr>
            <a:spLocks/>
          </p:cNvSpPr>
          <p:nvPr/>
        </p:nvSpPr>
        <p:spPr bwMode="auto">
          <a:xfrm>
            <a:off x="1577228" y="1868286"/>
            <a:ext cx="876588" cy="3486162"/>
          </a:xfrm>
          <a:custGeom>
            <a:avLst/>
            <a:gdLst>
              <a:gd name="T0" fmla="*/ 665 w 1214"/>
              <a:gd name="T1" fmla="*/ 5 h 4837"/>
              <a:gd name="T2" fmla="*/ 728 w 1214"/>
              <a:gd name="T3" fmla="*/ 21 h 4837"/>
              <a:gd name="T4" fmla="*/ 786 w 1214"/>
              <a:gd name="T5" fmla="*/ 49 h 4837"/>
              <a:gd name="T6" fmla="*/ 837 w 1214"/>
              <a:gd name="T7" fmla="*/ 87 h 4837"/>
              <a:gd name="T8" fmla="*/ 879 w 1214"/>
              <a:gd name="T9" fmla="*/ 133 h 4837"/>
              <a:gd name="T10" fmla="*/ 912 w 1214"/>
              <a:gd name="T11" fmla="*/ 188 h 4837"/>
              <a:gd name="T12" fmla="*/ 935 w 1214"/>
              <a:gd name="T13" fmla="*/ 249 h 4837"/>
              <a:gd name="T14" fmla="*/ 945 w 1214"/>
              <a:gd name="T15" fmla="*/ 315 h 4837"/>
              <a:gd name="T16" fmla="*/ 975 w 1214"/>
              <a:gd name="T17" fmla="*/ 3747 h 4837"/>
              <a:gd name="T18" fmla="*/ 1030 w 1214"/>
              <a:gd name="T19" fmla="*/ 3794 h 4837"/>
              <a:gd name="T20" fmla="*/ 1080 w 1214"/>
              <a:gd name="T21" fmla="*/ 3848 h 4837"/>
              <a:gd name="T22" fmla="*/ 1122 w 1214"/>
              <a:gd name="T23" fmla="*/ 3908 h 4837"/>
              <a:gd name="T24" fmla="*/ 1157 w 1214"/>
              <a:gd name="T25" fmla="*/ 3973 h 4837"/>
              <a:gd name="T26" fmla="*/ 1184 w 1214"/>
              <a:gd name="T27" fmla="*/ 4042 h 4837"/>
              <a:gd name="T28" fmla="*/ 1203 w 1214"/>
              <a:gd name="T29" fmla="*/ 4114 h 4837"/>
              <a:gd name="T30" fmla="*/ 1213 w 1214"/>
              <a:gd name="T31" fmla="*/ 4191 h 4837"/>
              <a:gd name="T32" fmla="*/ 1210 w 1214"/>
              <a:gd name="T33" fmla="*/ 4292 h 4837"/>
              <a:gd name="T34" fmla="*/ 1187 w 1214"/>
              <a:gd name="T35" fmla="*/ 4410 h 4837"/>
              <a:gd name="T36" fmla="*/ 1140 w 1214"/>
              <a:gd name="T37" fmla="*/ 4519 h 4837"/>
              <a:gd name="T38" fmla="*/ 1075 w 1214"/>
              <a:gd name="T39" fmla="*/ 4616 h 4837"/>
              <a:gd name="T40" fmla="*/ 993 w 1214"/>
              <a:gd name="T41" fmla="*/ 4698 h 4837"/>
              <a:gd name="T42" fmla="*/ 896 w 1214"/>
              <a:gd name="T43" fmla="*/ 4764 h 4837"/>
              <a:gd name="T44" fmla="*/ 787 w 1214"/>
              <a:gd name="T45" fmla="*/ 4810 h 4837"/>
              <a:gd name="T46" fmla="*/ 668 w 1214"/>
              <a:gd name="T47" fmla="*/ 4834 h 4837"/>
              <a:gd name="T48" fmla="*/ 544 w 1214"/>
              <a:gd name="T49" fmla="*/ 4834 h 4837"/>
              <a:gd name="T50" fmla="*/ 426 w 1214"/>
              <a:gd name="T51" fmla="*/ 4810 h 4837"/>
              <a:gd name="T52" fmla="*/ 317 w 1214"/>
              <a:gd name="T53" fmla="*/ 4764 h 4837"/>
              <a:gd name="T54" fmla="*/ 220 w 1214"/>
              <a:gd name="T55" fmla="*/ 4698 h 4837"/>
              <a:gd name="T56" fmla="*/ 138 w 1214"/>
              <a:gd name="T57" fmla="*/ 4616 h 4837"/>
              <a:gd name="T58" fmla="*/ 72 w 1214"/>
              <a:gd name="T59" fmla="*/ 4519 h 4837"/>
              <a:gd name="T60" fmla="*/ 27 w 1214"/>
              <a:gd name="T61" fmla="*/ 4410 h 4837"/>
              <a:gd name="T62" fmla="*/ 2 w 1214"/>
              <a:gd name="T63" fmla="*/ 4292 h 4837"/>
              <a:gd name="T64" fmla="*/ 1 w 1214"/>
              <a:gd name="T65" fmla="*/ 4190 h 4837"/>
              <a:gd name="T66" fmla="*/ 11 w 1214"/>
              <a:gd name="T67" fmla="*/ 4111 h 4837"/>
              <a:gd name="T68" fmla="*/ 31 w 1214"/>
              <a:gd name="T69" fmla="*/ 4036 h 4837"/>
              <a:gd name="T70" fmla="*/ 60 w 1214"/>
              <a:gd name="T71" fmla="*/ 3965 h 4837"/>
              <a:gd name="T72" fmla="*/ 97 w 1214"/>
              <a:gd name="T73" fmla="*/ 3899 h 4837"/>
              <a:gd name="T74" fmla="*/ 142 w 1214"/>
              <a:gd name="T75" fmla="*/ 3839 h 4837"/>
              <a:gd name="T76" fmla="*/ 194 w 1214"/>
              <a:gd name="T77" fmla="*/ 3784 h 4837"/>
              <a:gd name="T78" fmla="*/ 252 w 1214"/>
              <a:gd name="T79" fmla="*/ 3736 h 4837"/>
              <a:gd name="T80" fmla="*/ 285 w 1214"/>
              <a:gd name="T81" fmla="*/ 315 h 4837"/>
              <a:gd name="T82" fmla="*/ 295 w 1214"/>
              <a:gd name="T83" fmla="*/ 249 h 4837"/>
              <a:gd name="T84" fmla="*/ 316 w 1214"/>
              <a:gd name="T85" fmla="*/ 188 h 4837"/>
              <a:gd name="T86" fmla="*/ 350 w 1214"/>
              <a:gd name="T87" fmla="*/ 133 h 4837"/>
              <a:gd name="T88" fmla="*/ 393 w 1214"/>
              <a:gd name="T89" fmla="*/ 87 h 4837"/>
              <a:gd name="T90" fmla="*/ 444 w 1214"/>
              <a:gd name="T91" fmla="*/ 49 h 4837"/>
              <a:gd name="T92" fmla="*/ 501 w 1214"/>
              <a:gd name="T93" fmla="*/ 21 h 4837"/>
              <a:gd name="T94" fmla="*/ 565 w 1214"/>
              <a:gd name="T95" fmla="*/ 5 h 4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4" h="4837">
                <a:moveTo>
                  <a:pt x="614" y="0"/>
                </a:moveTo>
                <a:lnTo>
                  <a:pt x="632" y="1"/>
                </a:lnTo>
                <a:lnTo>
                  <a:pt x="648" y="3"/>
                </a:lnTo>
                <a:lnTo>
                  <a:pt x="665" y="5"/>
                </a:lnTo>
                <a:lnTo>
                  <a:pt x="681" y="7"/>
                </a:lnTo>
                <a:lnTo>
                  <a:pt x="696" y="11"/>
                </a:lnTo>
                <a:lnTo>
                  <a:pt x="713" y="16"/>
                </a:lnTo>
                <a:lnTo>
                  <a:pt x="728" y="21"/>
                </a:lnTo>
                <a:lnTo>
                  <a:pt x="743" y="26"/>
                </a:lnTo>
                <a:lnTo>
                  <a:pt x="758" y="34"/>
                </a:lnTo>
                <a:lnTo>
                  <a:pt x="772" y="40"/>
                </a:lnTo>
                <a:lnTo>
                  <a:pt x="786" y="49"/>
                </a:lnTo>
                <a:lnTo>
                  <a:pt x="799" y="58"/>
                </a:lnTo>
                <a:lnTo>
                  <a:pt x="812" y="66"/>
                </a:lnTo>
                <a:lnTo>
                  <a:pt x="825" y="76"/>
                </a:lnTo>
                <a:lnTo>
                  <a:pt x="837" y="87"/>
                </a:lnTo>
                <a:lnTo>
                  <a:pt x="847" y="98"/>
                </a:lnTo>
                <a:lnTo>
                  <a:pt x="859" y="109"/>
                </a:lnTo>
                <a:lnTo>
                  <a:pt x="869" y="121"/>
                </a:lnTo>
                <a:lnTo>
                  <a:pt x="879" y="133"/>
                </a:lnTo>
                <a:lnTo>
                  <a:pt x="889" y="146"/>
                </a:lnTo>
                <a:lnTo>
                  <a:pt x="897" y="160"/>
                </a:lnTo>
                <a:lnTo>
                  <a:pt x="905" y="174"/>
                </a:lnTo>
                <a:lnTo>
                  <a:pt x="912" y="188"/>
                </a:lnTo>
                <a:lnTo>
                  <a:pt x="919" y="202"/>
                </a:lnTo>
                <a:lnTo>
                  <a:pt x="925" y="217"/>
                </a:lnTo>
                <a:lnTo>
                  <a:pt x="930" y="234"/>
                </a:lnTo>
                <a:lnTo>
                  <a:pt x="935" y="249"/>
                </a:lnTo>
                <a:lnTo>
                  <a:pt x="938" y="265"/>
                </a:lnTo>
                <a:lnTo>
                  <a:pt x="941" y="281"/>
                </a:lnTo>
                <a:lnTo>
                  <a:pt x="944" y="297"/>
                </a:lnTo>
                <a:lnTo>
                  <a:pt x="945" y="315"/>
                </a:lnTo>
                <a:lnTo>
                  <a:pt x="945" y="331"/>
                </a:lnTo>
                <a:lnTo>
                  <a:pt x="945" y="3725"/>
                </a:lnTo>
                <a:lnTo>
                  <a:pt x="960" y="3736"/>
                </a:lnTo>
                <a:lnTo>
                  <a:pt x="975" y="3747"/>
                </a:lnTo>
                <a:lnTo>
                  <a:pt x="989" y="3758"/>
                </a:lnTo>
                <a:lnTo>
                  <a:pt x="1003" y="3770"/>
                </a:lnTo>
                <a:lnTo>
                  <a:pt x="1017" y="3781"/>
                </a:lnTo>
                <a:lnTo>
                  <a:pt x="1030" y="3794"/>
                </a:lnTo>
                <a:lnTo>
                  <a:pt x="1043" y="3807"/>
                </a:lnTo>
                <a:lnTo>
                  <a:pt x="1056" y="3820"/>
                </a:lnTo>
                <a:lnTo>
                  <a:pt x="1068" y="3834"/>
                </a:lnTo>
                <a:lnTo>
                  <a:pt x="1080" y="3848"/>
                </a:lnTo>
                <a:lnTo>
                  <a:pt x="1090" y="3862"/>
                </a:lnTo>
                <a:lnTo>
                  <a:pt x="1101" y="3878"/>
                </a:lnTo>
                <a:lnTo>
                  <a:pt x="1112" y="3893"/>
                </a:lnTo>
                <a:lnTo>
                  <a:pt x="1122" y="3908"/>
                </a:lnTo>
                <a:lnTo>
                  <a:pt x="1132" y="3923"/>
                </a:lnTo>
                <a:lnTo>
                  <a:pt x="1140" y="3939"/>
                </a:lnTo>
                <a:lnTo>
                  <a:pt x="1149" y="3955"/>
                </a:lnTo>
                <a:lnTo>
                  <a:pt x="1157" y="3973"/>
                </a:lnTo>
                <a:lnTo>
                  <a:pt x="1165" y="3989"/>
                </a:lnTo>
                <a:lnTo>
                  <a:pt x="1171" y="4006"/>
                </a:lnTo>
                <a:lnTo>
                  <a:pt x="1178" y="4023"/>
                </a:lnTo>
                <a:lnTo>
                  <a:pt x="1184" y="4042"/>
                </a:lnTo>
                <a:lnTo>
                  <a:pt x="1190" y="4059"/>
                </a:lnTo>
                <a:lnTo>
                  <a:pt x="1195" y="4077"/>
                </a:lnTo>
                <a:lnTo>
                  <a:pt x="1200" y="4096"/>
                </a:lnTo>
                <a:lnTo>
                  <a:pt x="1203" y="4114"/>
                </a:lnTo>
                <a:lnTo>
                  <a:pt x="1206" y="4134"/>
                </a:lnTo>
                <a:lnTo>
                  <a:pt x="1209" y="4152"/>
                </a:lnTo>
                <a:lnTo>
                  <a:pt x="1211" y="4171"/>
                </a:lnTo>
                <a:lnTo>
                  <a:pt x="1213" y="4191"/>
                </a:lnTo>
                <a:lnTo>
                  <a:pt x="1214" y="4210"/>
                </a:lnTo>
                <a:lnTo>
                  <a:pt x="1214" y="4230"/>
                </a:lnTo>
                <a:lnTo>
                  <a:pt x="1214" y="4261"/>
                </a:lnTo>
                <a:lnTo>
                  <a:pt x="1210" y="4292"/>
                </a:lnTo>
                <a:lnTo>
                  <a:pt x="1207" y="4323"/>
                </a:lnTo>
                <a:lnTo>
                  <a:pt x="1202" y="4352"/>
                </a:lnTo>
                <a:lnTo>
                  <a:pt x="1195" y="4382"/>
                </a:lnTo>
                <a:lnTo>
                  <a:pt x="1187" y="4410"/>
                </a:lnTo>
                <a:lnTo>
                  <a:pt x="1177" y="4438"/>
                </a:lnTo>
                <a:lnTo>
                  <a:pt x="1166" y="4466"/>
                </a:lnTo>
                <a:lnTo>
                  <a:pt x="1154" y="4493"/>
                </a:lnTo>
                <a:lnTo>
                  <a:pt x="1140" y="4519"/>
                </a:lnTo>
                <a:lnTo>
                  <a:pt x="1126" y="4545"/>
                </a:lnTo>
                <a:lnTo>
                  <a:pt x="1110" y="4569"/>
                </a:lnTo>
                <a:lnTo>
                  <a:pt x="1094" y="4594"/>
                </a:lnTo>
                <a:lnTo>
                  <a:pt x="1075" y="4616"/>
                </a:lnTo>
                <a:lnTo>
                  <a:pt x="1056" y="4638"/>
                </a:lnTo>
                <a:lnTo>
                  <a:pt x="1036" y="4660"/>
                </a:lnTo>
                <a:lnTo>
                  <a:pt x="1015" y="4679"/>
                </a:lnTo>
                <a:lnTo>
                  <a:pt x="993" y="4698"/>
                </a:lnTo>
                <a:lnTo>
                  <a:pt x="970" y="4717"/>
                </a:lnTo>
                <a:lnTo>
                  <a:pt x="946" y="4733"/>
                </a:lnTo>
                <a:lnTo>
                  <a:pt x="922" y="4749"/>
                </a:lnTo>
                <a:lnTo>
                  <a:pt x="896" y="4764"/>
                </a:lnTo>
                <a:lnTo>
                  <a:pt x="870" y="4777"/>
                </a:lnTo>
                <a:lnTo>
                  <a:pt x="843" y="4789"/>
                </a:lnTo>
                <a:lnTo>
                  <a:pt x="815" y="4800"/>
                </a:lnTo>
                <a:lnTo>
                  <a:pt x="787" y="4810"/>
                </a:lnTo>
                <a:lnTo>
                  <a:pt x="758" y="4818"/>
                </a:lnTo>
                <a:lnTo>
                  <a:pt x="729" y="4825"/>
                </a:lnTo>
                <a:lnTo>
                  <a:pt x="700" y="4830"/>
                </a:lnTo>
                <a:lnTo>
                  <a:pt x="668" y="4834"/>
                </a:lnTo>
                <a:lnTo>
                  <a:pt x="638" y="4837"/>
                </a:lnTo>
                <a:lnTo>
                  <a:pt x="607" y="4837"/>
                </a:lnTo>
                <a:lnTo>
                  <a:pt x="575" y="4837"/>
                </a:lnTo>
                <a:lnTo>
                  <a:pt x="544" y="4834"/>
                </a:lnTo>
                <a:lnTo>
                  <a:pt x="514" y="4830"/>
                </a:lnTo>
                <a:lnTo>
                  <a:pt x="485" y="4825"/>
                </a:lnTo>
                <a:lnTo>
                  <a:pt x="454" y="4818"/>
                </a:lnTo>
                <a:lnTo>
                  <a:pt x="426" y="4810"/>
                </a:lnTo>
                <a:lnTo>
                  <a:pt x="398" y="4800"/>
                </a:lnTo>
                <a:lnTo>
                  <a:pt x="370" y="4789"/>
                </a:lnTo>
                <a:lnTo>
                  <a:pt x="343" y="4777"/>
                </a:lnTo>
                <a:lnTo>
                  <a:pt x="317" y="4764"/>
                </a:lnTo>
                <a:lnTo>
                  <a:pt x="291" y="4749"/>
                </a:lnTo>
                <a:lnTo>
                  <a:pt x="267" y="4733"/>
                </a:lnTo>
                <a:lnTo>
                  <a:pt x="243" y="4717"/>
                </a:lnTo>
                <a:lnTo>
                  <a:pt x="220" y="4698"/>
                </a:lnTo>
                <a:lnTo>
                  <a:pt x="198" y="4679"/>
                </a:lnTo>
                <a:lnTo>
                  <a:pt x="177" y="4660"/>
                </a:lnTo>
                <a:lnTo>
                  <a:pt x="157" y="4638"/>
                </a:lnTo>
                <a:lnTo>
                  <a:pt x="138" y="4616"/>
                </a:lnTo>
                <a:lnTo>
                  <a:pt x="120" y="4594"/>
                </a:lnTo>
                <a:lnTo>
                  <a:pt x="103" y="4569"/>
                </a:lnTo>
                <a:lnTo>
                  <a:pt x="87" y="4545"/>
                </a:lnTo>
                <a:lnTo>
                  <a:pt x="72" y="4519"/>
                </a:lnTo>
                <a:lnTo>
                  <a:pt x="59" y="4493"/>
                </a:lnTo>
                <a:lnTo>
                  <a:pt x="47" y="4466"/>
                </a:lnTo>
                <a:lnTo>
                  <a:pt x="36" y="4438"/>
                </a:lnTo>
                <a:lnTo>
                  <a:pt x="27" y="4410"/>
                </a:lnTo>
                <a:lnTo>
                  <a:pt x="18" y="4382"/>
                </a:lnTo>
                <a:lnTo>
                  <a:pt x="12" y="4352"/>
                </a:lnTo>
                <a:lnTo>
                  <a:pt x="6" y="4323"/>
                </a:lnTo>
                <a:lnTo>
                  <a:pt x="2" y="4292"/>
                </a:lnTo>
                <a:lnTo>
                  <a:pt x="0" y="4261"/>
                </a:lnTo>
                <a:lnTo>
                  <a:pt x="0" y="4230"/>
                </a:lnTo>
                <a:lnTo>
                  <a:pt x="0" y="4209"/>
                </a:lnTo>
                <a:lnTo>
                  <a:pt x="1" y="4190"/>
                </a:lnTo>
                <a:lnTo>
                  <a:pt x="2" y="4169"/>
                </a:lnTo>
                <a:lnTo>
                  <a:pt x="4" y="4150"/>
                </a:lnTo>
                <a:lnTo>
                  <a:pt x="7" y="4130"/>
                </a:lnTo>
                <a:lnTo>
                  <a:pt x="11" y="4111"/>
                </a:lnTo>
                <a:lnTo>
                  <a:pt x="15" y="4091"/>
                </a:lnTo>
                <a:lnTo>
                  <a:pt x="19" y="4073"/>
                </a:lnTo>
                <a:lnTo>
                  <a:pt x="25" y="4055"/>
                </a:lnTo>
                <a:lnTo>
                  <a:pt x="31" y="4036"/>
                </a:lnTo>
                <a:lnTo>
                  <a:pt x="38" y="4018"/>
                </a:lnTo>
                <a:lnTo>
                  <a:pt x="44" y="4000"/>
                </a:lnTo>
                <a:lnTo>
                  <a:pt x="52" y="3982"/>
                </a:lnTo>
                <a:lnTo>
                  <a:pt x="60" y="3965"/>
                </a:lnTo>
                <a:lnTo>
                  <a:pt x="69" y="3948"/>
                </a:lnTo>
                <a:lnTo>
                  <a:pt x="78" y="3932"/>
                </a:lnTo>
                <a:lnTo>
                  <a:pt x="87" y="3915"/>
                </a:lnTo>
                <a:lnTo>
                  <a:pt x="97" y="3899"/>
                </a:lnTo>
                <a:lnTo>
                  <a:pt x="108" y="3883"/>
                </a:lnTo>
                <a:lnTo>
                  <a:pt x="119" y="3868"/>
                </a:lnTo>
                <a:lnTo>
                  <a:pt x="130" y="3853"/>
                </a:lnTo>
                <a:lnTo>
                  <a:pt x="142" y="3839"/>
                </a:lnTo>
                <a:lnTo>
                  <a:pt x="154" y="3824"/>
                </a:lnTo>
                <a:lnTo>
                  <a:pt x="167" y="3811"/>
                </a:lnTo>
                <a:lnTo>
                  <a:pt x="180" y="3797"/>
                </a:lnTo>
                <a:lnTo>
                  <a:pt x="194" y="3784"/>
                </a:lnTo>
                <a:lnTo>
                  <a:pt x="208" y="3772"/>
                </a:lnTo>
                <a:lnTo>
                  <a:pt x="222" y="3759"/>
                </a:lnTo>
                <a:lnTo>
                  <a:pt x="237" y="3747"/>
                </a:lnTo>
                <a:lnTo>
                  <a:pt x="252" y="3736"/>
                </a:lnTo>
                <a:lnTo>
                  <a:pt x="268" y="3725"/>
                </a:lnTo>
                <a:lnTo>
                  <a:pt x="284" y="3715"/>
                </a:lnTo>
                <a:lnTo>
                  <a:pt x="284" y="331"/>
                </a:lnTo>
                <a:lnTo>
                  <a:pt x="285" y="315"/>
                </a:lnTo>
                <a:lnTo>
                  <a:pt x="286" y="297"/>
                </a:lnTo>
                <a:lnTo>
                  <a:pt x="288" y="281"/>
                </a:lnTo>
                <a:lnTo>
                  <a:pt x="290" y="265"/>
                </a:lnTo>
                <a:lnTo>
                  <a:pt x="295" y="249"/>
                </a:lnTo>
                <a:lnTo>
                  <a:pt x="299" y="234"/>
                </a:lnTo>
                <a:lnTo>
                  <a:pt x="304" y="217"/>
                </a:lnTo>
                <a:lnTo>
                  <a:pt x="310" y="202"/>
                </a:lnTo>
                <a:lnTo>
                  <a:pt x="316" y="188"/>
                </a:lnTo>
                <a:lnTo>
                  <a:pt x="324" y="174"/>
                </a:lnTo>
                <a:lnTo>
                  <a:pt x="332" y="160"/>
                </a:lnTo>
                <a:lnTo>
                  <a:pt x="341" y="146"/>
                </a:lnTo>
                <a:lnTo>
                  <a:pt x="350" y="133"/>
                </a:lnTo>
                <a:lnTo>
                  <a:pt x="359" y="121"/>
                </a:lnTo>
                <a:lnTo>
                  <a:pt x="370" y="109"/>
                </a:lnTo>
                <a:lnTo>
                  <a:pt x="381" y="98"/>
                </a:lnTo>
                <a:lnTo>
                  <a:pt x="393" y="87"/>
                </a:lnTo>
                <a:lnTo>
                  <a:pt x="405" y="76"/>
                </a:lnTo>
                <a:lnTo>
                  <a:pt x="417" y="66"/>
                </a:lnTo>
                <a:lnTo>
                  <a:pt x="430" y="58"/>
                </a:lnTo>
                <a:lnTo>
                  <a:pt x="444" y="49"/>
                </a:lnTo>
                <a:lnTo>
                  <a:pt x="458" y="40"/>
                </a:lnTo>
                <a:lnTo>
                  <a:pt x="472" y="34"/>
                </a:lnTo>
                <a:lnTo>
                  <a:pt x="486" y="26"/>
                </a:lnTo>
                <a:lnTo>
                  <a:pt x="501" y="21"/>
                </a:lnTo>
                <a:lnTo>
                  <a:pt x="516" y="16"/>
                </a:lnTo>
                <a:lnTo>
                  <a:pt x="532" y="11"/>
                </a:lnTo>
                <a:lnTo>
                  <a:pt x="548" y="7"/>
                </a:lnTo>
                <a:lnTo>
                  <a:pt x="565" y="5"/>
                </a:lnTo>
                <a:lnTo>
                  <a:pt x="581" y="3"/>
                </a:lnTo>
                <a:lnTo>
                  <a:pt x="598" y="1"/>
                </a:lnTo>
                <a:lnTo>
                  <a:pt x="6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3" name="Oval 2"/>
          <p:cNvSpPr/>
          <p:nvPr/>
        </p:nvSpPr>
        <p:spPr>
          <a:xfrm>
            <a:off x="1655083" y="4569155"/>
            <a:ext cx="715111" cy="715111"/>
          </a:xfrm>
          <a:prstGeom prst="ellipse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48278" y="4341691"/>
            <a:ext cx="328721" cy="374650"/>
          </a:xfrm>
          <a:prstGeom prst="rect">
            <a:avLst/>
          </a:prstGeom>
          <a:solidFill>
            <a:srgbClr val="E99E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17"/>
          <p:cNvSpPr>
            <a:spLocks/>
          </p:cNvSpPr>
          <p:nvPr/>
        </p:nvSpPr>
        <p:spPr bwMode="auto">
          <a:xfrm>
            <a:off x="1848278" y="4281137"/>
            <a:ext cx="328721" cy="121108"/>
          </a:xfrm>
          <a:custGeom>
            <a:avLst/>
            <a:gdLst>
              <a:gd name="T0" fmla="*/ 249 w 452"/>
              <a:gd name="T1" fmla="*/ 0 h 165"/>
              <a:gd name="T2" fmla="*/ 293 w 452"/>
              <a:gd name="T3" fmla="*/ 3 h 165"/>
              <a:gd name="T4" fmla="*/ 334 w 452"/>
              <a:gd name="T5" fmla="*/ 10 h 165"/>
              <a:gd name="T6" fmla="*/ 370 w 452"/>
              <a:gd name="T7" fmla="*/ 18 h 165"/>
              <a:gd name="T8" fmla="*/ 401 w 452"/>
              <a:gd name="T9" fmla="*/ 29 h 165"/>
              <a:gd name="T10" fmla="*/ 425 w 452"/>
              <a:gd name="T11" fmla="*/ 43 h 165"/>
              <a:gd name="T12" fmla="*/ 442 w 452"/>
              <a:gd name="T13" fmla="*/ 57 h 165"/>
              <a:gd name="T14" fmla="*/ 450 w 452"/>
              <a:gd name="T15" fmla="*/ 69 h 165"/>
              <a:gd name="T16" fmla="*/ 452 w 452"/>
              <a:gd name="T17" fmla="*/ 78 h 165"/>
              <a:gd name="T18" fmla="*/ 452 w 452"/>
              <a:gd name="T19" fmla="*/ 86 h 165"/>
              <a:gd name="T20" fmla="*/ 450 w 452"/>
              <a:gd name="T21" fmla="*/ 95 h 165"/>
              <a:gd name="T22" fmla="*/ 442 w 452"/>
              <a:gd name="T23" fmla="*/ 107 h 165"/>
              <a:gd name="T24" fmla="*/ 425 w 452"/>
              <a:gd name="T25" fmla="*/ 122 h 165"/>
              <a:gd name="T26" fmla="*/ 401 w 452"/>
              <a:gd name="T27" fmla="*/ 135 h 165"/>
              <a:gd name="T28" fmla="*/ 370 w 452"/>
              <a:gd name="T29" fmla="*/ 146 h 165"/>
              <a:gd name="T30" fmla="*/ 334 w 452"/>
              <a:gd name="T31" fmla="*/ 154 h 165"/>
              <a:gd name="T32" fmla="*/ 293 w 452"/>
              <a:gd name="T33" fmla="*/ 161 h 165"/>
              <a:gd name="T34" fmla="*/ 249 w 452"/>
              <a:gd name="T35" fmla="*/ 164 h 165"/>
              <a:gd name="T36" fmla="*/ 203 w 452"/>
              <a:gd name="T37" fmla="*/ 164 h 165"/>
              <a:gd name="T38" fmla="*/ 158 w 452"/>
              <a:gd name="T39" fmla="*/ 161 h 165"/>
              <a:gd name="T40" fmla="*/ 117 w 452"/>
              <a:gd name="T41" fmla="*/ 154 h 165"/>
              <a:gd name="T42" fmla="*/ 82 w 452"/>
              <a:gd name="T43" fmla="*/ 146 h 165"/>
              <a:gd name="T44" fmla="*/ 51 w 452"/>
              <a:gd name="T45" fmla="*/ 135 h 165"/>
              <a:gd name="T46" fmla="*/ 27 w 452"/>
              <a:gd name="T47" fmla="*/ 122 h 165"/>
              <a:gd name="T48" fmla="*/ 9 w 452"/>
              <a:gd name="T49" fmla="*/ 107 h 165"/>
              <a:gd name="T50" fmla="*/ 2 w 452"/>
              <a:gd name="T51" fmla="*/ 95 h 165"/>
              <a:gd name="T52" fmla="*/ 0 w 452"/>
              <a:gd name="T53" fmla="*/ 86 h 165"/>
              <a:gd name="T54" fmla="*/ 0 w 452"/>
              <a:gd name="T55" fmla="*/ 78 h 165"/>
              <a:gd name="T56" fmla="*/ 2 w 452"/>
              <a:gd name="T57" fmla="*/ 69 h 165"/>
              <a:gd name="T58" fmla="*/ 9 w 452"/>
              <a:gd name="T59" fmla="*/ 57 h 165"/>
              <a:gd name="T60" fmla="*/ 27 w 452"/>
              <a:gd name="T61" fmla="*/ 43 h 165"/>
              <a:gd name="T62" fmla="*/ 51 w 452"/>
              <a:gd name="T63" fmla="*/ 29 h 165"/>
              <a:gd name="T64" fmla="*/ 82 w 452"/>
              <a:gd name="T65" fmla="*/ 18 h 165"/>
              <a:gd name="T66" fmla="*/ 117 w 452"/>
              <a:gd name="T67" fmla="*/ 10 h 165"/>
              <a:gd name="T68" fmla="*/ 158 w 452"/>
              <a:gd name="T69" fmla="*/ 3 h 165"/>
              <a:gd name="T70" fmla="*/ 203 w 452"/>
              <a:gd name="T71" fmla="*/ 0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2" h="165">
                <a:moveTo>
                  <a:pt x="226" y="0"/>
                </a:moveTo>
                <a:lnTo>
                  <a:pt x="249" y="0"/>
                </a:lnTo>
                <a:lnTo>
                  <a:pt x="272" y="1"/>
                </a:lnTo>
                <a:lnTo>
                  <a:pt x="293" y="3"/>
                </a:lnTo>
                <a:lnTo>
                  <a:pt x="314" y="6"/>
                </a:lnTo>
                <a:lnTo>
                  <a:pt x="334" y="10"/>
                </a:lnTo>
                <a:lnTo>
                  <a:pt x="353" y="14"/>
                </a:lnTo>
                <a:lnTo>
                  <a:pt x="370" y="18"/>
                </a:lnTo>
                <a:lnTo>
                  <a:pt x="386" y="24"/>
                </a:lnTo>
                <a:lnTo>
                  <a:pt x="401" y="29"/>
                </a:lnTo>
                <a:lnTo>
                  <a:pt x="414" y="35"/>
                </a:lnTo>
                <a:lnTo>
                  <a:pt x="425" y="43"/>
                </a:lnTo>
                <a:lnTo>
                  <a:pt x="435" y="50"/>
                </a:lnTo>
                <a:lnTo>
                  <a:pt x="442" y="57"/>
                </a:lnTo>
                <a:lnTo>
                  <a:pt x="448" y="66"/>
                </a:lnTo>
                <a:lnTo>
                  <a:pt x="450" y="69"/>
                </a:lnTo>
                <a:lnTo>
                  <a:pt x="451" y="73"/>
                </a:lnTo>
                <a:lnTo>
                  <a:pt x="452" y="78"/>
                </a:lnTo>
                <a:lnTo>
                  <a:pt x="452" y="82"/>
                </a:lnTo>
                <a:lnTo>
                  <a:pt x="452" y="86"/>
                </a:lnTo>
                <a:lnTo>
                  <a:pt x="451" y="91"/>
                </a:lnTo>
                <a:lnTo>
                  <a:pt x="450" y="95"/>
                </a:lnTo>
                <a:lnTo>
                  <a:pt x="448" y="98"/>
                </a:lnTo>
                <a:lnTo>
                  <a:pt x="442" y="107"/>
                </a:lnTo>
                <a:lnTo>
                  <a:pt x="435" y="114"/>
                </a:lnTo>
                <a:lnTo>
                  <a:pt x="425" y="122"/>
                </a:lnTo>
                <a:lnTo>
                  <a:pt x="414" y="128"/>
                </a:lnTo>
                <a:lnTo>
                  <a:pt x="401" y="135"/>
                </a:lnTo>
                <a:lnTo>
                  <a:pt x="386" y="140"/>
                </a:lnTo>
                <a:lnTo>
                  <a:pt x="370" y="146"/>
                </a:lnTo>
                <a:lnTo>
                  <a:pt x="353" y="151"/>
                </a:lnTo>
                <a:lnTo>
                  <a:pt x="334" y="154"/>
                </a:lnTo>
                <a:lnTo>
                  <a:pt x="314" y="159"/>
                </a:lnTo>
                <a:lnTo>
                  <a:pt x="293" y="161"/>
                </a:lnTo>
                <a:lnTo>
                  <a:pt x="272" y="163"/>
                </a:lnTo>
                <a:lnTo>
                  <a:pt x="249" y="164"/>
                </a:lnTo>
                <a:lnTo>
                  <a:pt x="226" y="165"/>
                </a:lnTo>
                <a:lnTo>
                  <a:pt x="203" y="164"/>
                </a:lnTo>
                <a:lnTo>
                  <a:pt x="180" y="163"/>
                </a:lnTo>
                <a:lnTo>
                  <a:pt x="158" y="161"/>
                </a:lnTo>
                <a:lnTo>
                  <a:pt x="138" y="159"/>
                </a:lnTo>
                <a:lnTo>
                  <a:pt x="117" y="154"/>
                </a:lnTo>
                <a:lnTo>
                  <a:pt x="99" y="151"/>
                </a:lnTo>
                <a:lnTo>
                  <a:pt x="82" y="146"/>
                </a:lnTo>
                <a:lnTo>
                  <a:pt x="66" y="140"/>
                </a:lnTo>
                <a:lnTo>
                  <a:pt x="51" y="135"/>
                </a:lnTo>
                <a:lnTo>
                  <a:pt x="37" y="128"/>
                </a:lnTo>
                <a:lnTo>
                  <a:pt x="27" y="122"/>
                </a:lnTo>
                <a:lnTo>
                  <a:pt x="17" y="114"/>
                </a:lnTo>
                <a:lnTo>
                  <a:pt x="9" y="107"/>
                </a:lnTo>
                <a:lnTo>
                  <a:pt x="4" y="98"/>
                </a:lnTo>
                <a:lnTo>
                  <a:pt x="2" y="95"/>
                </a:lnTo>
                <a:lnTo>
                  <a:pt x="1" y="91"/>
                </a:lnTo>
                <a:lnTo>
                  <a:pt x="0" y="86"/>
                </a:lnTo>
                <a:lnTo>
                  <a:pt x="0" y="82"/>
                </a:lnTo>
                <a:lnTo>
                  <a:pt x="0" y="78"/>
                </a:lnTo>
                <a:lnTo>
                  <a:pt x="1" y="73"/>
                </a:lnTo>
                <a:lnTo>
                  <a:pt x="2" y="69"/>
                </a:lnTo>
                <a:lnTo>
                  <a:pt x="4" y="66"/>
                </a:lnTo>
                <a:lnTo>
                  <a:pt x="9" y="57"/>
                </a:lnTo>
                <a:lnTo>
                  <a:pt x="17" y="50"/>
                </a:lnTo>
                <a:lnTo>
                  <a:pt x="27" y="43"/>
                </a:lnTo>
                <a:lnTo>
                  <a:pt x="37" y="35"/>
                </a:lnTo>
                <a:lnTo>
                  <a:pt x="51" y="29"/>
                </a:lnTo>
                <a:lnTo>
                  <a:pt x="66" y="24"/>
                </a:lnTo>
                <a:lnTo>
                  <a:pt x="82" y="18"/>
                </a:lnTo>
                <a:lnTo>
                  <a:pt x="99" y="14"/>
                </a:lnTo>
                <a:lnTo>
                  <a:pt x="117" y="10"/>
                </a:lnTo>
                <a:lnTo>
                  <a:pt x="138" y="6"/>
                </a:lnTo>
                <a:lnTo>
                  <a:pt x="158" y="3"/>
                </a:lnTo>
                <a:lnTo>
                  <a:pt x="180" y="1"/>
                </a:lnTo>
                <a:lnTo>
                  <a:pt x="203" y="0"/>
                </a:lnTo>
                <a:lnTo>
                  <a:pt x="226" y="0"/>
                </a:lnTo>
                <a:close/>
              </a:path>
            </a:pathLst>
          </a:custGeom>
          <a:solidFill>
            <a:srgbClr val="BA7E0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8"/>
          <p:cNvSpPr>
            <a:spLocks noEditPoints="1"/>
          </p:cNvSpPr>
          <p:nvPr/>
        </p:nvSpPr>
        <p:spPr bwMode="auto">
          <a:xfrm>
            <a:off x="1781958" y="2323881"/>
            <a:ext cx="198963" cy="2136680"/>
          </a:xfrm>
          <a:custGeom>
            <a:avLst/>
            <a:gdLst>
              <a:gd name="T0" fmla="*/ 160 w 275"/>
              <a:gd name="T1" fmla="*/ 171 h 2964"/>
              <a:gd name="T2" fmla="*/ 0 w 275"/>
              <a:gd name="T3" fmla="*/ 195 h 2964"/>
              <a:gd name="T4" fmla="*/ 0 w 275"/>
              <a:gd name="T5" fmla="*/ 2340 h 2964"/>
              <a:gd name="T6" fmla="*/ 275 w 275"/>
              <a:gd name="T7" fmla="*/ 2363 h 2964"/>
              <a:gd name="T8" fmla="*/ 0 w 275"/>
              <a:gd name="T9" fmla="*/ 2340 h 2964"/>
              <a:gd name="T10" fmla="*/ 275 w 275"/>
              <a:gd name="T11" fmla="*/ 1560 h 2964"/>
              <a:gd name="T12" fmla="*/ 0 w 275"/>
              <a:gd name="T13" fmla="*/ 1584 h 2964"/>
              <a:gd name="T14" fmla="*/ 0 w 275"/>
              <a:gd name="T15" fmla="*/ 780 h 2964"/>
              <a:gd name="T16" fmla="*/ 275 w 275"/>
              <a:gd name="T17" fmla="*/ 805 h 2964"/>
              <a:gd name="T18" fmla="*/ 0 w 275"/>
              <a:gd name="T19" fmla="*/ 780 h 2964"/>
              <a:gd name="T20" fmla="*/ 160 w 275"/>
              <a:gd name="T21" fmla="*/ 2939 h 2964"/>
              <a:gd name="T22" fmla="*/ 0 w 275"/>
              <a:gd name="T23" fmla="*/ 2964 h 2964"/>
              <a:gd name="T24" fmla="*/ 0 w 275"/>
              <a:gd name="T25" fmla="*/ 2160 h 2964"/>
              <a:gd name="T26" fmla="*/ 160 w 275"/>
              <a:gd name="T27" fmla="*/ 2184 h 2964"/>
              <a:gd name="T28" fmla="*/ 0 w 275"/>
              <a:gd name="T29" fmla="*/ 2160 h 2964"/>
              <a:gd name="T30" fmla="*/ 160 w 275"/>
              <a:gd name="T31" fmla="*/ 1381 h 2964"/>
              <a:gd name="T32" fmla="*/ 0 w 275"/>
              <a:gd name="T33" fmla="*/ 1406 h 2964"/>
              <a:gd name="T34" fmla="*/ 0 w 275"/>
              <a:gd name="T35" fmla="*/ 2797 h 2964"/>
              <a:gd name="T36" fmla="*/ 160 w 275"/>
              <a:gd name="T37" fmla="*/ 2820 h 2964"/>
              <a:gd name="T38" fmla="*/ 0 w 275"/>
              <a:gd name="T39" fmla="*/ 2797 h 2964"/>
              <a:gd name="T40" fmla="*/ 160 w 275"/>
              <a:gd name="T41" fmla="*/ 2017 h 2964"/>
              <a:gd name="T42" fmla="*/ 0 w 275"/>
              <a:gd name="T43" fmla="*/ 2041 h 2964"/>
              <a:gd name="T44" fmla="*/ 0 w 275"/>
              <a:gd name="T45" fmla="*/ 1237 h 2964"/>
              <a:gd name="T46" fmla="*/ 160 w 275"/>
              <a:gd name="T47" fmla="*/ 1262 h 2964"/>
              <a:gd name="T48" fmla="*/ 0 w 275"/>
              <a:gd name="T49" fmla="*/ 1237 h 2964"/>
              <a:gd name="T50" fmla="*/ 160 w 275"/>
              <a:gd name="T51" fmla="*/ 2653 h 2964"/>
              <a:gd name="T52" fmla="*/ 0 w 275"/>
              <a:gd name="T53" fmla="*/ 2677 h 2964"/>
              <a:gd name="T54" fmla="*/ 0 w 275"/>
              <a:gd name="T55" fmla="*/ 1873 h 2964"/>
              <a:gd name="T56" fmla="*/ 160 w 275"/>
              <a:gd name="T57" fmla="*/ 1897 h 2964"/>
              <a:gd name="T58" fmla="*/ 0 w 275"/>
              <a:gd name="T59" fmla="*/ 1873 h 2964"/>
              <a:gd name="T60" fmla="*/ 160 w 275"/>
              <a:gd name="T61" fmla="*/ 1093 h 2964"/>
              <a:gd name="T62" fmla="*/ 0 w 275"/>
              <a:gd name="T63" fmla="*/ 1118 h 2964"/>
              <a:gd name="T64" fmla="*/ 0 w 275"/>
              <a:gd name="T65" fmla="*/ 2509 h 2964"/>
              <a:gd name="T66" fmla="*/ 160 w 275"/>
              <a:gd name="T67" fmla="*/ 2533 h 2964"/>
              <a:gd name="T68" fmla="*/ 0 w 275"/>
              <a:gd name="T69" fmla="*/ 2509 h 2964"/>
              <a:gd name="T70" fmla="*/ 160 w 275"/>
              <a:gd name="T71" fmla="*/ 1730 h 2964"/>
              <a:gd name="T72" fmla="*/ 0 w 275"/>
              <a:gd name="T73" fmla="*/ 1754 h 2964"/>
              <a:gd name="T74" fmla="*/ 0 w 275"/>
              <a:gd name="T75" fmla="*/ 950 h 2964"/>
              <a:gd name="T76" fmla="*/ 160 w 275"/>
              <a:gd name="T77" fmla="*/ 975 h 2964"/>
              <a:gd name="T78" fmla="*/ 0 w 275"/>
              <a:gd name="T79" fmla="*/ 950 h 2964"/>
              <a:gd name="T80" fmla="*/ 275 w 275"/>
              <a:gd name="T81" fmla="*/ 0 h 2964"/>
              <a:gd name="T82" fmla="*/ 0 w 275"/>
              <a:gd name="T83" fmla="*/ 25 h 2964"/>
              <a:gd name="T84" fmla="*/ 0 w 275"/>
              <a:gd name="T85" fmla="*/ 601 h 2964"/>
              <a:gd name="T86" fmla="*/ 160 w 275"/>
              <a:gd name="T87" fmla="*/ 626 h 2964"/>
              <a:gd name="T88" fmla="*/ 0 w 275"/>
              <a:gd name="T89" fmla="*/ 601 h 2964"/>
              <a:gd name="T90" fmla="*/ 160 w 275"/>
              <a:gd name="T91" fmla="*/ 458 h 2964"/>
              <a:gd name="T92" fmla="*/ 0 w 275"/>
              <a:gd name="T93" fmla="*/ 482 h 2964"/>
              <a:gd name="T94" fmla="*/ 0 w 275"/>
              <a:gd name="T95" fmla="*/ 315 h 2964"/>
              <a:gd name="T96" fmla="*/ 160 w 275"/>
              <a:gd name="T97" fmla="*/ 338 h 2964"/>
              <a:gd name="T98" fmla="*/ 0 w 275"/>
              <a:gd name="T99" fmla="*/ 315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5" h="2964">
                <a:moveTo>
                  <a:pt x="0" y="171"/>
                </a:moveTo>
                <a:lnTo>
                  <a:pt x="160" y="171"/>
                </a:lnTo>
                <a:lnTo>
                  <a:pt x="160" y="195"/>
                </a:lnTo>
                <a:lnTo>
                  <a:pt x="0" y="195"/>
                </a:lnTo>
                <a:lnTo>
                  <a:pt x="0" y="171"/>
                </a:lnTo>
                <a:close/>
                <a:moveTo>
                  <a:pt x="0" y="2340"/>
                </a:moveTo>
                <a:lnTo>
                  <a:pt x="275" y="2340"/>
                </a:lnTo>
                <a:lnTo>
                  <a:pt x="275" y="2363"/>
                </a:lnTo>
                <a:lnTo>
                  <a:pt x="0" y="2363"/>
                </a:lnTo>
                <a:lnTo>
                  <a:pt x="0" y="2340"/>
                </a:lnTo>
                <a:close/>
                <a:moveTo>
                  <a:pt x="0" y="1560"/>
                </a:moveTo>
                <a:lnTo>
                  <a:pt x="275" y="1560"/>
                </a:lnTo>
                <a:lnTo>
                  <a:pt x="275" y="1584"/>
                </a:lnTo>
                <a:lnTo>
                  <a:pt x="0" y="1584"/>
                </a:lnTo>
                <a:lnTo>
                  <a:pt x="0" y="1560"/>
                </a:lnTo>
                <a:close/>
                <a:moveTo>
                  <a:pt x="0" y="780"/>
                </a:moveTo>
                <a:lnTo>
                  <a:pt x="275" y="780"/>
                </a:lnTo>
                <a:lnTo>
                  <a:pt x="275" y="805"/>
                </a:lnTo>
                <a:lnTo>
                  <a:pt x="0" y="805"/>
                </a:lnTo>
                <a:lnTo>
                  <a:pt x="0" y="780"/>
                </a:lnTo>
                <a:close/>
                <a:moveTo>
                  <a:pt x="0" y="2939"/>
                </a:moveTo>
                <a:lnTo>
                  <a:pt x="160" y="2939"/>
                </a:lnTo>
                <a:lnTo>
                  <a:pt x="160" y="2964"/>
                </a:lnTo>
                <a:lnTo>
                  <a:pt x="0" y="2964"/>
                </a:lnTo>
                <a:lnTo>
                  <a:pt x="0" y="2939"/>
                </a:lnTo>
                <a:close/>
                <a:moveTo>
                  <a:pt x="0" y="2160"/>
                </a:moveTo>
                <a:lnTo>
                  <a:pt x="160" y="2160"/>
                </a:lnTo>
                <a:lnTo>
                  <a:pt x="160" y="2184"/>
                </a:lnTo>
                <a:lnTo>
                  <a:pt x="0" y="2184"/>
                </a:lnTo>
                <a:lnTo>
                  <a:pt x="0" y="2160"/>
                </a:lnTo>
                <a:close/>
                <a:moveTo>
                  <a:pt x="0" y="1381"/>
                </a:moveTo>
                <a:lnTo>
                  <a:pt x="160" y="1381"/>
                </a:lnTo>
                <a:lnTo>
                  <a:pt x="160" y="1406"/>
                </a:lnTo>
                <a:lnTo>
                  <a:pt x="0" y="1406"/>
                </a:lnTo>
                <a:lnTo>
                  <a:pt x="0" y="1381"/>
                </a:lnTo>
                <a:close/>
                <a:moveTo>
                  <a:pt x="0" y="2797"/>
                </a:moveTo>
                <a:lnTo>
                  <a:pt x="160" y="2797"/>
                </a:lnTo>
                <a:lnTo>
                  <a:pt x="160" y="2820"/>
                </a:lnTo>
                <a:lnTo>
                  <a:pt x="0" y="2820"/>
                </a:lnTo>
                <a:lnTo>
                  <a:pt x="0" y="2797"/>
                </a:lnTo>
                <a:close/>
                <a:moveTo>
                  <a:pt x="0" y="2017"/>
                </a:moveTo>
                <a:lnTo>
                  <a:pt x="160" y="2017"/>
                </a:lnTo>
                <a:lnTo>
                  <a:pt x="160" y="2041"/>
                </a:lnTo>
                <a:lnTo>
                  <a:pt x="0" y="2041"/>
                </a:lnTo>
                <a:lnTo>
                  <a:pt x="0" y="2017"/>
                </a:lnTo>
                <a:close/>
                <a:moveTo>
                  <a:pt x="0" y="1237"/>
                </a:moveTo>
                <a:lnTo>
                  <a:pt x="160" y="1237"/>
                </a:lnTo>
                <a:lnTo>
                  <a:pt x="160" y="1262"/>
                </a:lnTo>
                <a:lnTo>
                  <a:pt x="0" y="1262"/>
                </a:lnTo>
                <a:lnTo>
                  <a:pt x="0" y="1237"/>
                </a:lnTo>
                <a:close/>
                <a:moveTo>
                  <a:pt x="0" y="2653"/>
                </a:moveTo>
                <a:lnTo>
                  <a:pt x="160" y="2653"/>
                </a:lnTo>
                <a:lnTo>
                  <a:pt x="160" y="2677"/>
                </a:lnTo>
                <a:lnTo>
                  <a:pt x="0" y="2677"/>
                </a:lnTo>
                <a:lnTo>
                  <a:pt x="0" y="2653"/>
                </a:lnTo>
                <a:close/>
                <a:moveTo>
                  <a:pt x="0" y="1873"/>
                </a:moveTo>
                <a:lnTo>
                  <a:pt x="160" y="1873"/>
                </a:lnTo>
                <a:lnTo>
                  <a:pt x="160" y="1897"/>
                </a:lnTo>
                <a:lnTo>
                  <a:pt x="0" y="1897"/>
                </a:lnTo>
                <a:lnTo>
                  <a:pt x="0" y="1873"/>
                </a:lnTo>
                <a:close/>
                <a:moveTo>
                  <a:pt x="0" y="1093"/>
                </a:moveTo>
                <a:lnTo>
                  <a:pt x="160" y="1093"/>
                </a:lnTo>
                <a:lnTo>
                  <a:pt x="160" y="1118"/>
                </a:lnTo>
                <a:lnTo>
                  <a:pt x="0" y="1118"/>
                </a:lnTo>
                <a:lnTo>
                  <a:pt x="0" y="1093"/>
                </a:lnTo>
                <a:close/>
                <a:moveTo>
                  <a:pt x="0" y="2509"/>
                </a:moveTo>
                <a:lnTo>
                  <a:pt x="160" y="2509"/>
                </a:lnTo>
                <a:lnTo>
                  <a:pt x="160" y="2533"/>
                </a:lnTo>
                <a:lnTo>
                  <a:pt x="0" y="2533"/>
                </a:lnTo>
                <a:lnTo>
                  <a:pt x="0" y="2509"/>
                </a:lnTo>
                <a:close/>
                <a:moveTo>
                  <a:pt x="0" y="1730"/>
                </a:moveTo>
                <a:lnTo>
                  <a:pt x="160" y="1730"/>
                </a:lnTo>
                <a:lnTo>
                  <a:pt x="160" y="1754"/>
                </a:lnTo>
                <a:lnTo>
                  <a:pt x="0" y="1754"/>
                </a:lnTo>
                <a:lnTo>
                  <a:pt x="0" y="1730"/>
                </a:lnTo>
                <a:close/>
                <a:moveTo>
                  <a:pt x="0" y="950"/>
                </a:moveTo>
                <a:lnTo>
                  <a:pt x="160" y="950"/>
                </a:lnTo>
                <a:lnTo>
                  <a:pt x="160" y="975"/>
                </a:lnTo>
                <a:lnTo>
                  <a:pt x="0" y="975"/>
                </a:lnTo>
                <a:lnTo>
                  <a:pt x="0" y="950"/>
                </a:lnTo>
                <a:close/>
                <a:moveTo>
                  <a:pt x="0" y="0"/>
                </a:moveTo>
                <a:lnTo>
                  <a:pt x="275" y="0"/>
                </a:lnTo>
                <a:lnTo>
                  <a:pt x="275" y="25"/>
                </a:lnTo>
                <a:lnTo>
                  <a:pt x="0" y="25"/>
                </a:lnTo>
                <a:lnTo>
                  <a:pt x="0" y="0"/>
                </a:lnTo>
                <a:close/>
                <a:moveTo>
                  <a:pt x="0" y="601"/>
                </a:moveTo>
                <a:lnTo>
                  <a:pt x="160" y="601"/>
                </a:lnTo>
                <a:lnTo>
                  <a:pt x="160" y="626"/>
                </a:lnTo>
                <a:lnTo>
                  <a:pt x="0" y="626"/>
                </a:lnTo>
                <a:lnTo>
                  <a:pt x="0" y="601"/>
                </a:lnTo>
                <a:close/>
                <a:moveTo>
                  <a:pt x="0" y="458"/>
                </a:moveTo>
                <a:lnTo>
                  <a:pt x="160" y="458"/>
                </a:lnTo>
                <a:lnTo>
                  <a:pt x="160" y="482"/>
                </a:lnTo>
                <a:lnTo>
                  <a:pt x="0" y="482"/>
                </a:lnTo>
                <a:lnTo>
                  <a:pt x="0" y="458"/>
                </a:lnTo>
                <a:close/>
                <a:moveTo>
                  <a:pt x="0" y="315"/>
                </a:moveTo>
                <a:lnTo>
                  <a:pt x="160" y="315"/>
                </a:lnTo>
                <a:lnTo>
                  <a:pt x="160" y="338"/>
                </a:lnTo>
                <a:lnTo>
                  <a:pt x="0" y="338"/>
                </a:lnTo>
                <a:lnTo>
                  <a:pt x="0" y="315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5"/>
          <p:cNvSpPr>
            <a:spLocks/>
          </p:cNvSpPr>
          <p:nvPr/>
        </p:nvSpPr>
        <p:spPr bwMode="auto">
          <a:xfrm>
            <a:off x="3152307" y="1868286"/>
            <a:ext cx="876588" cy="3486162"/>
          </a:xfrm>
          <a:custGeom>
            <a:avLst/>
            <a:gdLst>
              <a:gd name="T0" fmla="*/ 665 w 1214"/>
              <a:gd name="T1" fmla="*/ 5 h 4837"/>
              <a:gd name="T2" fmla="*/ 728 w 1214"/>
              <a:gd name="T3" fmla="*/ 21 h 4837"/>
              <a:gd name="T4" fmla="*/ 786 w 1214"/>
              <a:gd name="T5" fmla="*/ 49 h 4837"/>
              <a:gd name="T6" fmla="*/ 837 w 1214"/>
              <a:gd name="T7" fmla="*/ 87 h 4837"/>
              <a:gd name="T8" fmla="*/ 879 w 1214"/>
              <a:gd name="T9" fmla="*/ 133 h 4837"/>
              <a:gd name="T10" fmla="*/ 912 w 1214"/>
              <a:gd name="T11" fmla="*/ 188 h 4837"/>
              <a:gd name="T12" fmla="*/ 935 w 1214"/>
              <a:gd name="T13" fmla="*/ 249 h 4837"/>
              <a:gd name="T14" fmla="*/ 945 w 1214"/>
              <a:gd name="T15" fmla="*/ 315 h 4837"/>
              <a:gd name="T16" fmla="*/ 975 w 1214"/>
              <a:gd name="T17" fmla="*/ 3747 h 4837"/>
              <a:gd name="T18" fmla="*/ 1030 w 1214"/>
              <a:gd name="T19" fmla="*/ 3794 h 4837"/>
              <a:gd name="T20" fmla="*/ 1080 w 1214"/>
              <a:gd name="T21" fmla="*/ 3848 h 4837"/>
              <a:gd name="T22" fmla="*/ 1122 w 1214"/>
              <a:gd name="T23" fmla="*/ 3908 h 4837"/>
              <a:gd name="T24" fmla="*/ 1157 w 1214"/>
              <a:gd name="T25" fmla="*/ 3973 h 4837"/>
              <a:gd name="T26" fmla="*/ 1184 w 1214"/>
              <a:gd name="T27" fmla="*/ 4042 h 4837"/>
              <a:gd name="T28" fmla="*/ 1203 w 1214"/>
              <a:gd name="T29" fmla="*/ 4114 h 4837"/>
              <a:gd name="T30" fmla="*/ 1213 w 1214"/>
              <a:gd name="T31" fmla="*/ 4191 h 4837"/>
              <a:gd name="T32" fmla="*/ 1210 w 1214"/>
              <a:gd name="T33" fmla="*/ 4292 h 4837"/>
              <a:gd name="T34" fmla="*/ 1187 w 1214"/>
              <a:gd name="T35" fmla="*/ 4410 h 4837"/>
              <a:gd name="T36" fmla="*/ 1140 w 1214"/>
              <a:gd name="T37" fmla="*/ 4519 h 4837"/>
              <a:gd name="T38" fmla="*/ 1075 w 1214"/>
              <a:gd name="T39" fmla="*/ 4616 h 4837"/>
              <a:gd name="T40" fmla="*/ 993 w 1214"/>
              <a:gd name="T41" fmla="*/ 4698 h 4837"/>
              <a:gd name="T42" fmla="*/ 896 w 1214"/>
              <a:gd name="T43" fmla="*/ 4764 h 4837"/>
              <a:gd name="T44" fmla="*/ 787 w 1214"/>
              <a:gd name="T45" fmla="*/ 4810 h 4837"/>
              <a:gd name="T46" fmla="*/ 668 w 1214"/>
              <a:gd name="T47" fmla="*/ 4834 h 4837"/>
              <a:gd name="T48" fmla="*/ 544 w 1214"/>
              <a:gd name="T49" fmla="*/ 4834 h 4837"/>
              <a:gd name="T50" fmla="*/ 426 w 1214"/>
              <a:gd name="T51" fmla="*/ 4810 h 4837"/>
              <a:gd name="T52" fmla="*/ 317 w 1214"/>
              <a:gd name="T53" fmla="*/ 4764 h 4837"/>
              <a:gd name="T54" fmla="*/ 220 w 1214"/>
              <a:gd name="T55" fmla="*/ 4698 h 4837"/>
              <a:gd name="T56" fmla="*/ 138 w 1214"/>
              <a:gd name="T57" fmla="*/ 4616 h 4837"/>
              <a:gd name="T58" fmla="*/ 72 w 1214"/>
              <a:gd name="T59" fmla="*/ 4519 h 4837"/>
              <a:gd name="T60" fmla="*/ 27 w 1214"/>
              <a:gd name="T61" fmla="*/ 4410 h 4837"/>
              <a:gd name="T62" fmla="*/ 2 w 1214"/>
              <a:gd name="T63" fmla="*/ 4292 h 4837"/>
              <a:gd name="T64" fmla="*/ 1 w 1214"/>
              <a:gd name="T65" fmla="*/ 4190 h 4837"/>
              <a:gd name="T66" fmla="*/ 11 w 1214"/>
              <a:gd name="T67" fmla="*/ 4111 h 4837"/>
              <a:gd name="T68" fmla="*/ 31 w 1214"/>
              <a:gd name="T69" fmla="*/ 4036 h 4837"/>
              <a:gd name="T70" fmla="*/ 60 w 1214"/>
              <a:gd name="T71" fmla="*/ 3965 h 4837"/>
              <a:gd name="T72" fmla="*/ 97 w 1214"/>
              <a:gd name="T73" fmla="*/ 3899 h 4837"/>
              <a:gd name="T74" fmla="*/ 142 w 1214"/>
              <a:gd name="T75" fmla="*/ 3839 h 4837"/>
              <a:gd name="T76" fmla="*/ 194 w 1214"/>
              <a:gd name="T77" fmla="*/ 3784 h 4837"/>
              <a:gd name="T78" fmla="*/ 252 w 1214"/>
              <a:gd name="T79" fmla="*/ 3736 h 4837"/>
              <a:gd name="T80" fmla="*/ 285 w 1214"/>
              <a:gd name="T81" fmla="*/ 315 h 4837"/>
              <a:gd name="T82" fmla="*/ 295 w 1214"/>
              <a:gd name="T83" fmla="*/ 249 h 4837"/>
              <a:gd name="T84" fmla="*/ 316 w 1214"/>
              <a:gd name="T85" fmla="*/ 188 h 4837"/>
              <a:gd name="T86" fmla="*/ 350 w 1214"/>
              <a:gd name="T87" fmla="*/ 133 h 4837"/>
              <a:gd name="T88" fmla="*/ 393 w 1214"/>
              <a:gd name="T89" fmla="*/ 87 h 4837"/>
              <a:gd name="T90" fmla="*/ 444 w 1214"/>
              <a:gd name="T91" fmla="*/ 49 h 4837"/>
              <a:gd name="T92" fmla="*/ 501 w 1214"/>
              <a:gd name="T93" fmla="*/ 21 h 4837"/>
              <a:gd name="T94" fmla="*/ 565 w 1214"/>
              <a:gd name="T95" fmla="*/ 5 h 4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4" h="4837">
                <a:moveTo>
                  <a:pt x="614" y="0"/>
                </a:moveTo>
                <a:lnTo>
                  <a:pt x="632" y="1"/>
                </a:lnTo>
                <a:lnTo>
                  <a:pt x="648" y="3"/>
                </a:lnTo>
                <a:lnTo>
                  <a:pt x="665" y="5"/>
                </a:lnTo>
                <a:lnTo>
                  <a:pt x="681" y="7"/>
                </a:lnTo>
                <a:lnTo>
                  <a:pt x="696" y="11"/>
                </a:lnTo>
                <a:lnTo>
                  <a:pt x="713" y="16"/>
                </a:lnTo>
                <a:lnTo>
                  <a:pt x="728" y="21"/>
                </a:lnTo>
                <a:lnTo>
                  <a:pt x="743" y="26"/>
                </a:lnTo>
                <a:lnTo>
                  <a:pt x="758" y="34"/>
                </a:lnTo>
                <a:lnTo>
                  <a:pt x="772" y="40"/>
                </a:lnTo>
                <a:lnTo>
                  <a:pt x="786" y="49"/>
                </a:lnTo>
                <a:lnTo>
                  <a:pt x="799" y="58"/>
                </a:lnTo>
                <a:lnTo>
                  <a:pt x="812" y="66"/>
                </a:lnTo>
                <a:lnTo>
                  <a:pt x="825" y="76"/>
                </a:lnTo>
                <a:lnTo>
                  <a:pt x="837" y="87"/>
                </a:lnTo>
                <a:lnTo>
                  <a:pt x="847" y="98"/>
                </a:lnTo>
                <a:lnTo>
                  <a:pt x="859" y="109"/>
                </a:lnTo>
                <a:lnTo>
                  <a:pt x="869" y="121"/>
                </a:lnTo>
                <a:lnTo>
                  <a:pt x="879" y="133"/>
                </a:lnTo>
                <a:lnTo>
                  <a:pt x="889" y="146"/>
                </a:lnTo>
                <a:lnTo>
                  <a:pt x="897" y="160"/>
                </a:lnTo>
                <a:lnTo>
                  <a:pt x="905" y="174"/>
                </a:lnTo>
                <a:lnTo>
                  <a:pt x="912" y="188"/>
                </a:lnTo>
                <a:lnTo>
                  <a:pt x="919" y="202"/>
                </a:lnTo>
                <a:lnTo>
                  <a:pt x="925" y="217"/>
                </a:lnTo>
                <a:lnTo>
                  <a:pt x="930" y="234"/>
                </a:lnTo>
                <a:lnTo>
                  <a:pt x="935" y="249"/>
                </a:lnTo>
                <a:lnTo>
                  <a:pt x="938" y="265"/>
                </a:lnTo>
                <a:lnTo>
                  <a:pt x="941" y="281"/>
                </a:lnTo>
                <a:lnTo>
                  <a:pt x="944" y="297"/>
                </a:lnTo>
                <a:lnTo>
                  <a:pt x="945" y="315"/>
                </a:lnTo>
                <a:lnTo>
                  <a:pt x="945" y="331"/>
                </a:lnTo>
                <a:lnTo>
                  <a:pt x="945" y="3725"/>
                </a:lnTo>
                <a:lnTo>
                  <a:pt x="960" y="3736"/>
                </a:lnTo>
                <a:lnTo>
                  <a:pt x="975" y="3747"/>
                </a:lnTo>
                <a:lnTo>
                  <a:pt x="989" y="3758"/>
                </a:lnTo>
                <a:lnTo>
                  <a:pt x="1003" y="3770"/>
                </a:lnTo>
                <a:lnTo>
                  <a:pt x="1017" y="3781"/>
                </a:lnTo>
                <a:lnTo>
                  <a:pt x="1030" y="3794"/>
                </a:lnTo>
                <a:lnTo>
                  <a:pt x="1043" y="3807"/>
                </a:lnTo>
                <a:lnTo>
                  <a:pt x="1056" y="3820"/>
                </a:lnTo>
                <a:lnTo>
                  <a:pt x="1068" y="3834"/>
                </a:lnTo>
                <a:lnTo>
                  <a:pt x="1080" y="3848"/>
                </a:lnTo>
                <a:lnTo>
                  <a:pt x="1090" y="3862"/>
                </a:lnTo>
                <a:lnTo>
                  <a:pt x="1101" y="3878"/>
                </a:lnTo>
                <a:lnTo>
                  <a:pt x="1112" y="3893"/>
                </a:lnTo>
                <a:lnTo>
                  <a:pt x="1122" y="3908"/>
                </a:lnTo>
                <a:lnTo>
                  <a:pt x="1132" y="3923"/>
                </a:lnTo>
                <a:lnTo>
                  <a:pt x="1140" y="3939"/>
                </a:lnTo>
                <a:lnTo>
                  <a:pt x="1149" y="3955"/>
                </a:lnTo>
                <a:lnTo>
                  <a:pt x="1157" y="3973"/>
                </a:lnTo>
                <a:lnTo>
                  <a:pt x="1165" y="3989"/>
                </a:lnTo>
                <a:lnTo>
                  <a:pt x="1171" y="4006"/>
                </a:lnTo>
                <a:lnTo>
                  <a:pt x="1178" y="4023"/>
                </a:lnTo>
                <a:lnTo>
                  <a:pt x="1184" y="4042"/>
                </a:lnTo>
                <a:lnTo>
                  <a:pt x="1190" y="4059"/>
                </a:lnTo>
                <a:lnTo>
                  <a:pt x="1195" y="4077"/>
                </a:lnTo>
                <a:lnTo>
                  <a:pt x="1200" y="4096"/>
                </a:lnTo>
                <a:lnTo>
                  <a:pt x="1203" y="4114"/>
                </a:lnTo>
                <a:lnTo>
                  <a:pt x="1206" y="4134"/>
                </a:lnTo>
                <a:lnTo>
                  <a:pt x="1209" y="4152"/>
                </a:lnTo>
                <a:lnTo>
                  <a:pt x="1211" y="4171"/>
                </a:lnTo>
                <a:lnTo>
                  <a:pt x="1213" y="4191"/>
                </a:lnTo>
                <a:lnTo>
                  <a:pt x="1214" y="4210"/>
                </a:lnTo>
                <a:lnTo>
                  <a:pt x="1214" y="4230"/>
                </a:lnTo>
                <a:lnTo>
                  <a:pt x="1214" y="4261"/>
                </a:lnTo>
                <a:lnTo>
                  <a:pt x="1210" y="4292"/>
                </a:lnTo>
                <a:lnTo>
                  <a:pt x="1207" y="4323"/>
                </a:lnTo>
                <a:lnTo>
                  <a:pt x="1202" y="4352"/>
                </a:lnTo>
                <a:lnTo>
                  <a:pt x="1195" y="4382"/>
                </a:lnTo>
                <a:lnTo>
                  <a:pt x="1187" y="4410"/>
                </a:lnTo>
                <a:lnTo>
                  <a:pt x="1177" y="4438"/>
                </a:lnTo>
                <a:lnTo>
                  <a:pt x="1166" y="4466"/>
                </a:lnTo>
                <a:lnTo>
                  <a:pt x="1154" y="4493"/>
                </a:lnTo>
                <a:lnTo>
                  <a:pt x="1140" y="4519"/>
                </a:lnTo>
                <a:lnTo>
                  <a:pt x="1126" y="4545"/>
                </a:lnTo>
                <a:lnTo>
                  <a:pt x="1110" y="4569"/>
                </a:lnTo>
                <a:lnTo>
                  <a:pt x="1094" y="4594"/>
                </a:lnTo>
                <a:lnTo>
                  <a:pt x="1075" y="4616"/>
                </a:lnTo>
                <a:lnTo>
                  <a:pt x="1056" y="4638"/>
                </a:lnTo>
                <a:lnTo>
                  <a:pt x="1036" y="4660"/>
                </a:lnTo>
                <a:lnTo>
                  <a:pt x="1015" y="4679"/>
                </a:lnTo>
                <a:lnTo>
                  <a:pt x="993" y="4698"/>
                </a:lnTo>
                <a:lnTo>
                  <a:pt x="970" y="4717"/>
                </a:lnTo>
                <a:lnTo>
                  <a:pt x="946" y="4733"/>
                </a:lnTo>
                <a:lnTo>
                  <a:pt x="922" y="4749"/>
                </a:lnTo>
                <a:lnTo>
                  <a:pt x="896" y="4764"/>
                </a:lnTo>
                <a:lnTo>
                  <a:pt x="870" y="4777"/>
                </a:lnTo>
                <a:lnTo>
                  <a:pt x="843" y="4789"/>
                </a:lnTo>
                <a:lnTo>
                  <a:pt x="815" y="4800"/>
                </a:lnTo>
                <a:lnTo>
                  <a:pt x="787" y="4810"/>
                </a:lnTo>
                <a:lnTo>
                  <a:pt x="758" y="4818"/>
                </a:lnTo>
                <a:lnTo>
                  <a:pt x="729" y="4825"/>
                </a:lnTo>
                <a:lnTo>
                  <a:pt x="700" y="4830"/>
                </a:lnTo>
                <a:lnTo>
                  <a:pt x="668" y="4834"/>
                </a:lnTo>
                <a:lnTo>
                  <a:pt x="638" y="4837"/>
                </a:lnTo>
                <a:lnTo>
                  <a:pt x="607" y="4837"/>
                </a:lnTo>
                <a:lnTo>
                  <a:pt x="575" y="4837"/>
                </a:lnTo>
                <a:lnTo>
                  <a:pt x="544" y="4834"/>
                </a:lnTo>
                <a:lnTo>
                  <a:pt x="514" y="4830"/>
                </a:lnTo>
                <a:lnTo>
                  <a:pt x="485" y="4825"/>
                </a:lnTo>
                <a:lnTo>
                  <a:pt x="454" y="4818"/>
                </a:lnTo>
                <a:lnTo>
                  <a:pt x="426" y="4810"/>
                </a:lnTo>
                <a:lnTo>
                  <a:pt x="398" y="4800"/>
                </a:lnTo>
                <a:lnTo>
                  <a:pt x="370" y="4789"/>
                </a:lnTo>
                <a:lnTo>
                  <a:pt x="343" y="4777"/>
                </a:lnTo>
                <a:lnTo>
                  <a:pt x="317" y="4764"/>
                </a:lnTo>
                <a:lnTo>
                  <a:pt x="291" y="4749"/>
                </a:lnTo>
                <a:lnTo>
                  <a:pt x="267" y="4733"/>
                </a:lnTo>
                <a:lnTo>
                  <a:pt x="243" y="4717"/>
                </a:lnTo>
                <a:lnTo>
                  <a:pt x="220" y="4698"/>
                </a:lnTo>
                <a:lnTo>
                  <a:pt x="198" y="4679"/>
                </a:lnTo>
                <a:lnTo>
                  <a:pt x="177" y="4660"/>
                </a:lnTo>
                <a:lnTo>
                  <a:pt x="157" y="4638"/>
                </a:lnTo>
                <a:lnTo>
                  <a:pt x="138" y="4616"/>
                </a:lnTo>
                <a:lnTo>
                  <a:pt x="120" y="4594"/>
                </a:lnTo>
                <a:lnTo>
                  <a:pt x="103" y="4569"/>
                </a:lnTo>
                <a:lnTo>
                  <a:pt x="87" y="4545"/>
                </a:lnTo>
                <a:lnTo>
                  <a:pt x="72" y="4519"/>
                </a:lnTo>
                <a:lnTo>
                  <a:pt x="59" y="4493"/>
                </a:lnTo>
                <a:lnTo>
                  <a:pt x="47" y="4466"/>
                </a:lnTo>
                <a:lnTo>
                  <a:pt x="36" y="4438"/>
                </a:lnTo>
                <a:lnTo>
                  <a:pt x="27" y="4410"/>
                </a:lnTo>
                <a:lnTo>
                  <a:pt x="18" y="4382"/>
                </a:lnTo>
                <a:lnTo>
                  <a:pt x="12" y="4352"/>
                </a:lnTo>
                <a:lnTo>
                  <a:pt x="6" y="4323"/>
                </a:lnTo>
                <a:lnTo>
                  <a:pt x="2" y="4292"/>
                </a:lnTo>
                <a:lnTo>
                  <a:pt x="0" y="4261"/>
                </a:lnTo>
                <a:lnTo>
                  <a:pt x="0" y="4230"/>
                </a:lnTo>
                <a:lnTo>
                  <a:pt x="0" y="4209"/>
                </a:lnTo>
                <a:lnTo>
                  <a:pt x="1" y="4190"/>
                </a:lnTo>
                <a:lnTo>
                  <a:pt x="2" y="4169"/>
                </a:lnTo>
                <a:lnTo>
                  <a:pt x="4" y="4150"/>
                </a:lnTo>
                <a:lnTo>
                  <a:pt x="7" y="4130"/>
                </a:lnTo>
                <a:lnTo>
                  <a:pt x="11" y="4111"/>
                </a:lnTo>
                <a:lnTo>
                  <a:pt x="15" y="4091"/>
                </a:lnTo>
                <a:lnTo>
                  <a:pt x="19" y="4073"/>
                </a:lnTo>
                <a:lnTo>
                  <a:pt x="25" y="4055"/>
                </a:lnTo>
                <a:lnTo>
                  <a:pt x="31" y="4036"/>
                </a:lnTo>
                <a:lnTo>
                  <a:pt x="38" y="4018"/>
                </a:lnTo>
                <a:lnTo>
                  <a:pt x="44" y="4000"/>
                </a:lnTo>
                <a:lnTo>
                  <a:pt x="52" y="3982"/>
                </a:lnTo>
                <a:lnTo>
                  <a:pt x="60" y="3965"/>
                </a:lnTo>
                <a:lnTo>
                  <a:pt x="69" y="3948"/>
                </a:lnTo>
                <a:lnTo>
                  <a:pt x="78" y="3932"/>
                </a:lnTo>
                <a:lnTo>
                  <a:pt x="87" y="3915"/>
                </a:lnTo>
                <a:lnTo>
                  <a:pt x="97" y="3899"/>
                </a:lnTo>
                <a:lnTo>
                  <a:pt x="108" y="3883"/>
                </a:lnTo>
                <a:lnTo>
                  <a:pt x="119" y="3868"/>
                </a:lnTo>
                <a:lnTo>
                  <a:pt x="130" y="3853"/>
                </a:lnTo>
                <a:lnTo>
                  <a:pt x="142" y="3839"/>
                </a:lnTo>
                <a:lnTo>
                  <a:pt x="154" y="3824"/>
                </a:lnTo>
                <a:lnTo>
                  <a:pt x="167" y="3811"/>
                </a:lnTo>
                <a:lnTo>
                  <a:pt x="180" y="3797"/>
                </a:lnTo>
                <a:lnTo>
                  <a:pt x="194" y="3784"/>
                </a:lnTo>
                <a:lnTo>
                  <a:pt x="208" y="3772"/>
                </a:lnTo>
                <a:lnTo>
                  <a:pt x="222" y="3759"/>
                </a:lnTo>
                <a:lnTo>
                  <a:pt x="237" y="3747"/>
                </a:lnTo>
                <a:lnTo>
                  <a:pt x="252" y="3736"/>
                </a:lnTo>
                <a:lnTo>
                  <a:pt x="268" y="3725"/>
                </a:lnTo>
                <a:lnTo>
                  <a:pt x="284" y="3715"/>
                </a:lnTo>
                <a:lnTo>
                  <a:pt x="284" y="331"/>
                </a:lnTo>
                <a:lnTo>
                  <a:pt x="285" y="315"/>
                </a:lnTo>
                <a:lnTo>
                  <a:pt x="286" y="297"/>
                </a:lnTo>
                <a:lnTo>
                  <a:pt x="288" y="281"/>
                </a:lnTo>
                <a:lnTo>
                  <a:pt x="290" y="265"/>
                </a:lnTo>
                <a:lnTo>
                  <a:pt x="295" y="249"/>
                </a:lnTo>
                <a:lnTo>
                  <a:pt x="299" y="234"/>
                </a:lnTo>
                <a:lnTo>
                  <a:pt x="304" y="217"/>
                </a:lnTo>
                <a:lnTo>
                  <a:pt x="310" y="202"/>
                </a:lnTo>
                <a:lnTo>
                  <a:pt x="316" y="188"/>
                </a:lnTo>
                <a:lnTo>
                  <a:pt x="324" y="174"/>
                </a:lnTo>
                <a:lnTo>
                  <a:pt x="332" y="160"/>
                </a:lnTo>
                <a:lnTo>
                  <a:pt x="341" y="146"/>
                </a:lnTo>
                <a:lnTo>
                  <a:pt x="350" y="133"/>
                </a:lnTo>
                <a:lnTo>
                  <a:pt x="359" y="121"/>
                </a:lnTo>
                <a:lnTo>
                  <a:pt x="370" y="109"/>
                </a:lnTo>
                <a:lnTo>
                  <a:pt x="381" y="98"/>
                </a:lnTo>
                <a:lnTo>
                  <a:pt x="393" y="87"/>
                </a:lnTo>
                <a:lnTo>
                  <a:pt x="405" y="76"/>
                </a:lnTo>
                <a:lnTo>
                  <a:pt x="417" y="66"/>
                </a:lnTo>
                <a:lnTo>
                  <a:pt x="430" y="58"/>
                </a:lnTo>
                <a:lnTo>
                  <a:pt x="444" y="49"/>
                </a:lnTo>
                <a:lnTo>
                  <a:pt x="458" y="40"/>
                </a:lnTo>
                <a:lnTo>
                  <a:pt x="472" y="34"/>
                </a:lnTo>
                <a:lnTo>
                  <a:pt x="486" y="26"/>
                </a:lnTo>
                <a:lnTo>
                  <a:pt x="501" y="21"/>
                </a:lnTo>
                <a:lnTo>
                  <a:pt x="516" y="16"/>
                </a:lnTo>
                <a:lnTo>
                  <a:pt x="532" y="11"/>
                </a:lnTo>
                <a:lnTo>
                  <a:pt x="548" y="7"/>
                </a:lnTo>
                <a:lnTo>
                  <a:pt x="565" y="5"/>
                </a:lnTo>
                <a:lnTo>
                  <a:pt x="581" y="3"/>
                </a:lnTo>
                <a:lnTo>
                  <a:pt x="598" y="1"/>
                </a:lnTo>
                <a:lnTo>
                  <a:pt x="6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3230162" y="4569155"/>
            <a:ext cx="715111" cy="715111"/>
          </a:xfrm>
          <a:prstGeom prst="ellipse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423357" y="3667067"/>
            <a:ext cx="328721" cy="1049274"/>
          </a:xfrm>
          <a:prstGeom prst="rect">
            <a:avLst/>
          </a:prstGeom>
          <a:solidFill>
            <a:srgbClr val="CE2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17"/>
          <p:cNvSpPr>
            <a:spLocks/>
          </p:cNvSpPr>
          <p:nvPr/>
        </p:nvSpPr>
        <p:spPr bwMode="auto">
          <a:xfrm>
            <a:off x="3423357" y="3609211"/>
            <a:ext cx="328721" cy="121108"/>
          </a:xfrm>
          <a:custGeom>
            <a:avLst/>
            <a:gdLst>
              <a:gd name="T0" fmla="*/ 249 w 452"/>
              <a:gd name="T1" fmla="*/ 0 h 165"/>
              <a:gd name="T2" fmla="*/ 293 w 452"/>
              <a:gd name="T3" fmla="*/ 3 h 165"/>
              <a:gd name="T4" fmla="*/ 334 w 452"/>
              <a:gd name="T5" fmla="*/ 10 h 165"/>
              <a:gd name="T6" fmla="*/ 370 w 452"/>
              <a:gd name="T7" fmla="*/ 18 h 165"/>
              <a:gd name="T8" fmla="*/ 401 w 452"/>
              <a:gd name="T9" fmla="*/ 29 h 165"/>
              <a:gd name="T10" fmla="*/ 425 w 452"/>
              <a:gd name="T11" fmla="*/ 43 h 165"/>
              <a:gd name="T12" fmla="*/ 442 w 452"/>
              <a:gd name="T13" fmla="*/ 57 h 165"/>
              <a:gd name="T14" fmla="*/ 450 w 452"/>
              <a:gd name="T15" fmla="*/ 69 h 165"/>
              <a:gd name="T16" fmla="*/ 452 w 452"/>
              <a:gd name="T17" fmla="*/ 78 h 165"/>
              <a:gd name="T18" fmla="*/ 452 w 452"/>
              <a:gd name="T19" fmla="*/ 86 h 165"/>
              <a:gd name="T20" fmla="*/ 450 w 452"/>
              <a:gd name="T21" fmla="*/ 95 h 165"/>
              <a:gd name="T22" fmla="*/ 442 w 452"/>
              <a:gd name="T23" fmla="*/ 107 h 165"/>
              <a:gd name="T24" fmla="*/ 425 w 452"/>
              <a:gd name="T25" fmla="*/ 122 h 165"/>
              <a:gd name="T26" fmla="*/ 401 w 452"/>
              <a:gd name="T27" fmla="*/ 135 h 165"/>
              <a:gd name="T28" fmla="*/ 370 w 452"/>
              <a:gd name="T29" fmla="*/ 146 h 165"/>
              <a:gd name="T30" fmla="*/ 334 w 452"/>
              <a:gd name="T31" fmla="*/ 154 h 165"/>
              <a:gd name="T32" fmla="*/ 293 w 452"/>
              <a:gd name="T33" fmla="*/ 161 h 165"/>
              <a:gd name="T34" fmla="*/ 249 w 452"/>
              <a:gd name="T35" fmla="*/ 164 h 165"/>
              <a:gd name="T36" fmla="*/ 203 w 452"/>
              <a:gd name="T37" fmla="*/ 164 h 165"/>
              <a:gd name="T38" fmla="*/ 158 w 452"/>
              <a:gd name="T39" fmla="*/ 161 h 165"/>
              <a:gd name="T40" fmla="*/ 117 w 452"/>
              <a:gd name="T41" fmla="*/ 154 h 165"/>
              <a:gd name="T42" fmla="*/ 82 w 452"/>
              <a:gd name="T43" fmla="*/ 146 h 165"/>
              <a:gd name="T44" fmla="*/ 51 w 452"/>
              <a:gd name="T45" fmla="*/ 135 h 165"/>
              <a:gd name="T46" fmla="*/ 27 w 452"/>
              <a:gd name="T47" fmla="*/ 122 h 165"/>
              <a:gd name="T48" fmla="*/ 9 w 452"/>
              <a:gd name="T49" fmla="*/ 107 h 165"/>
              <a:gd name="T50" fmla="*/ 2 w 452"/>
              <a:gd name="T51" fmla="*/ 95 h 165"/>
              <a:gd name="T52" fmla="*/ 0 w 452"/>
              <a:gd name="T53" fmla="*/ 86 h 165"/>
              <a:gd name="T54" fmla="*/ 0 w 452"/>
              <a:gd name="T55" fmla="*/ 78 h 165"/>
              <a:gd name="T56" fmla="*/ 2 w 452"/>
              <a:gd name="T57" fmla="*/ 69 h 165"/>
              <a:gd name="T58" fmla="*/ 9 w 452"/>
              <a:gd name="T59" fmla="*/ 57 h 165"/>
              <a:gd name="T60" fmla="*/ 27 w 452"/>
              <a:gd name="T61" fmla="*/ 43 h 165"/>
              <a:gd name="T62" fmla="*/ 51 w 452"/>
              <a:gd name="T63" fmla="*/ 29 h 165"/>
              <a:gd name="T64" fmla="*/ 82 w 452"/>
              <a:gd name="T65" fmla="*/ 18 h 165"/>
              <a:gd name="T66" fmla="*/ 117 w 452"/>
              <a:gd name="T67" fmla="*/ 10 h 165"/>
              <a:gd name="T68" fmla="*/ 158 w 452"/>
              <a:gd name="T69" fmla="*/ 3 h 165"/>
              <a:gd name="T70" fmla="*/ 203 w 452"/>
              <a:gd name="T71" fmla="*/ 0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2" h="165">
                <a:moveTo>
                  <a:pt x="226" y="0"/>
                </a:moveTo>
                <a:lnTo>
                  <a:pt x="249" y="0"/>
                </a:lnTo>
                <a:lnTo>
                  <a:pt x="272" y="1"/>
                </a:lnTo>
                <a:lnTo>
                  <a:pt x="293" y="3"/>
                </a:lnTo>
                <a:lnTo>
                  <a:pt x="314" y="6"/>
                </a:lnTo>
                <a:lnTo>
                  <a:pt x="334" y="10"/>
                </a:lnTo>
                <a:lnTo>
                  <a:pt x="353" y="14"/>
                </a:lnTo>
                <a:lnTo>
                  <a:pt x="370" y="18"/>
                </a:lnTo>
                <a:lnTo>
                  <a:pt x="386" y="24"/>
                </a:lnTo>
                <a:lnTo>
                  <a:pt x="401" y="29"/>
                </a:lnTo>
                <a:lnTo>
                  <a:pt x="414" y="35"/>
                </a:lnTo>
                <a:lnTo>
                  <a:pt x="425" y="43"/>
                </a:lnTo>
                <a:lnTo>
                  <a:pt x="435" y="50"/>
                </a:lnTo>
                <a:lnTo>
                  <a:pt x="442" y="57"/>
                </a:lnTo>
                <a:lnTo>
                  <a:pt x="448" y="66"/>
                </a:lnTo>
                <a:lnTo>
                  <a:pt x="450" y="69"/>
                </a:lnTo>
                <a:lnTo>
                  <a:pt x="451" y="73"/>
                </a:lnTo>
                <a:lnTo>
                  <a:pt x="452" y="78"/>
                </a:lnTo>
                <a:lnTo>
                  <a:pt x="452" y="82"/>
                </a:lnTo>
                <a:lnTo>
                  <a:pt x="452" y="86"/>
                </a:lnTo>
                <a:lnTo>
                  <a:pt x="451" y="91"/>
                </a:lnTo>
                <a:lnTo>
                  <a:pt x="450" y="95"/>
                </a:lnTo>
                <a:lnTo>
                  <a:pt x="448" y="98"/>
                </a:lnTo>
                <a:lnTo>
                  <a:pt x="442" y="107"/>
                </a:lnTo>
                <a:lnTo>
                  <a:pt x="435" y="114"/>
                </a:lnTo>
                <a:lnTo>
                  <a:pt x="425" y="122"/>
                </a:lnTo>
                <a:lnTo>
                  <a:pt x="414" y="128"/>
                </a:lnTo>
                <a:lnTo>
                  <a:pt x="401" y="135"/>
                </a:lnTo>
                <a:lnTo>
                  <a:pt x="386" y="140"/>
                </a:lnTo>
                <a:lnTo>
                  <a:pt x="370" y="146"/>
                </a:lnTo>
                <a:lnTo>
                  <a:pt x="353" y="151"/>
                </a:lnTo>
                <a:lnTo>
                  <a:pt x="334" y="154"/>
                </a:lnTo>
                <a:lnTo>
                  <a:pt x="314" y="159"/>
                </a:lnTo>
                <a:lnTo>
                  <a:pt x="293" y="161"/>
                </a:lnTo>
                <a:lnTo>
                  <a:pt x="272" y="163"/>
                </a:lnTo>
                <a:lnTo>
                  <a:pt x="249" y="164"/>
                </a:lnTo>
                <a:lnTo>
                  <a:pt x="226" y="165"/>
                </a:lnTo>
                <a:lnTo>
                  <a:pt x="203" y="164"/>
                </a:lnTo>
                <a:lnTo>
                  <a:pt x="180" y="163"/>
                </a:lnTo>
                <a:lnTo>
                  <a:pt x="158" y="161"/>
                </a:lnTo>
                <a:lnTo>
                  <a:pt x="138" y="159"/>
                </a:lnTo>
                <a:lnTo>
                  <a:pt x="117" y="154"/>
                </a:lnTo>
                <a:lnTo>
                  <a:pt x="99" y="151"/>
                </a:lnTo>
                <a:lnTo>
                  <a:pt x="82" y="146"/>
                </a:lnTo>
                <a:lnTo>
                  <a:pt x="66" y="140"/>
                </a:lnTo>
                <a:lnTo>
                  <a:pt x="51" y="135"/>
                </a:lnTo>
                <a:lnTo>
                  <a:pt x="37" y="128"/>
                </a:lnTo>
                <a:lnTo>
                  <a:pt x="27" y="122"/>
                </a:lnTo>
                <a:lnTo>
                  <a:pt x="17" y="114"/>
                </a:lnTo>
                <a:lnTo>
                  <a:pt x="9" y="107"/>
                </a:lnTo>
                <a:lnTo>
                  <a:pt x="4" y="98"/>
                </a:lnTo>
                <a:lnTo>
                  <a:pt x="2" y="95"/>
                </a:lnTo>
                <a:lnTo>
                  <a:pt x="1" y="91"/>
                </a:lnTo>
                <a:lnTo>
                  <a:pt x="0" y="86"/>
                </a:lnTo>
                <a:lnTo>
                  <a:pt x="0" y="82"/>
                </a:lnTo>
                <a:lnTo>
                  <a:pt x="0" y="78"/>
                </a:lnTo>
                <a:lnTo>
                  <a:pt x="1" y="73"/>
                </a:lnTo>
                <a:lnTo>
                  <a:pt x="2" y="69"/>
                </a:lnTo>
                <a:lnTo>
                  <a:pt x="4" y="66"/>
                </a:lnTo>
                <a:lnTo>
                  <a:pt x="9" y="57"/>
                </a:lnTo>
                <a:lnTo>
                  <a:pt x="17" y="50"/>
                </a:lnTo>
                <a:lnTo>
                  <a:pt x="27" y="43"/>
                </a:lnTo>
                <a:lnTo>
                  <a:pt x="37" y="35"/>
                </a:lnTo>
                <a:lnTo>
                  <a:pt x="51" y="29"/>
                </a:lnTo>
                <a:lnTo>
                  <a:pt x="66" y="24"/>
                </a:lnTo>
                <a:lnTo>
                  <a:pt x="82" y="18"/>
                </a:lnTo>
                <a:lnTo>
                  <a:pt x="99" y="14"/>
                </a:lnTo>
                <a:lnTo>
                  <a:pt x="117" y="10"/>
                </a:lnTo>
                <a:lnTo>
                  <a:pt x="138" y="6"/>
                </a:lnTo>
                <a:lnTo>
                  <a:pt x="158" y="3"/>
                </a:lnTo>
                <a:lnTo>
                  <a:pt x="180" y="1"/>
                </a:lnTo>
                <a:lnTo>
                  <a:pt x="203" y="0"/>
                </a:lnTo>
                <a:lnTo>
                  <a:pt x="226" y="0"/>
                </a:lnTo>
                <a:close/>
              </a:path>
            </a:pathLst>
          </a:custGeom>
          <a:solidFill>
            <a:srgbClr val="A51A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18"/>
          <p:cNvSpPr>
            <a:spLocks noEditPoints="1"/>
          </p:cNvSpPr>
          <p:nvPr/>
        </p:nvSpPr>
        <p:spPr bwMode="auto">
          <a:xfrm>
            <a:off x="3357037" y="2323881"/>
            <a:ext cx="198963" cy="2136680"/>
          </a:xfrm>
          <a:custGeom>
            <a:avLst/>
            <a:gdLst>
              <a:gd name="T0" fmla="*/ 160 w 275"/>
              <a:gd name="T1" fmla="*/ 171 h 2964"/>
              <a:gd name="T2" fmla="*/ 0 w 275"/>
              <a:gd name="T3" fmla="*/ 195 h 2964"/>
              <a:gd name="T4" fmla="*/ 0 w 275"/>
              <a:gd name="T5" fmla="*/ 2340 h 2964"/>
              <a:gd name="T6" fmla="*/ 275 w 275"/>
              <a:gd name="T7" fmla="*/ 2363 h 2964"/>
              <a:gd name="T8" fmla="*/ 0 w 275"/>
              <a:gd name="T9" fmla="*/ 2340 h 2964"/>
              <a:gd name="T10" fmla="*/ 275 w 275"/>
              <a:gd name="T11" fmla="*/ 1560 h 2964"/>
              <a:gd name="T12" fmla="*/ 0 w 275"/>
              <a:gd name="T13" fmla="*/ 1584 h 2964"/>
              <a:gd name="T14" fmla="*/ 0 w 275"/>
              <a:gd name="T15" fmla="*/ 780 h 2964"/>
              <a:gd name="T16" fmla="*/ 275 w 275"/>
              <a:gd name="T17" fmla="*/ 805 h 2964"/>
              <a:gd name="T18" fmla="*/ 0 w 275"/>
              <a:gd name="T19" fmla="*/ 780 h 2964"/>
              <a:gd name="T20" fmla="*/ 160 w 275"/>
              <a:gd name="T21" fmla="*/ 2939 h 2964"/>
              <a:gd name="T22" fmla="*/ 0 w 275"/>
              <a:gd name="T23" fmla="*/ 2964 h 2964"/>
              <a:gd name="T24" fmla="*/ 0 w 275"/>
              <a:gd name="T25" fmla="*/ 2160 h 2964"/>
              <a:gd name="T26" fmla="*/ 160 w 275"/>
              <a:gd name="T27" fmla="*/ 2184 h 2964"/>
              <a:gd name="T28" fmla="*/ 0 w 275"/>
              <a:gd name="T29" fmla="*/ 2160 h 2964"/>
              <a:gd name="T30" fmla="*/ 160 w 275"/>
              <a:gd name="T31" fmla="*/ 1381 h 2964"/>
              <a:gd name="T32" fmla="*/ 0 w 275"/>
              <a:gd name="T33" fmla="*/ 1406 h 2964"/>
              <a:gd name="T34" fmla="*/ 0 w 275"/>
              <a:gd name="T35" fmla="*/ 2797 h 2964"/>
              <a:gd name="T36" fmla="*/ 160 w 275"/>
              <a:gd name="T37" fmla="*/ 2820 h 2964"/>
              <a:gd name="T38" fmla="*/ 0 w 275"/>
              <a:gd name="T39" fmla="*/ 2797 h 2964"/>
              <a:gd name="T40" fmla="*/ 160 w 275"/>
              <a:gd name="T41" fmla="*/ 2017 h 2964"/>
              <a:gd name="T42" fmla="*/ 0 w 275"/>
              <a:gd name="T43" fmla="*/ 2041 h 2964"/>
              <a:gd name="T44" fmla="*/ 0 w 275"/>
              <a:gd name="T45" fmla="*/ 1237 h 2964"/>
              <a:gd name="T46" fmla="*/ 160 w 275"/>
              <a:gd name="T47" fmla="*/ 1262 h 2964"/>
              <a:gd name="T48" fmla="*/ 0 w 275"/>
              <a:gd name="T49" fmla="*/ 1237 h 2964"/>
              <a:gd name="T50" fmla="*/ 160 w 275"/>
              <a:gd name="T51" fmla="*/ 2653 h 2964"/>
              <a:gd name="T52" fmla="*/ 0 w 275"/>
              <a:gd name="T53" fmla="*/ 2677 h 2964"/>
              <a:gd name="T54" fmla="*/ 0 w 275"/>
              <a:gd name="T55" fmla="*/ 1873 h 2964"/>
              <a:gd name="T56" fmla="*/ 160 w 275"/>
              <a:gd name="T57" fmla="*/ 1897 h 2964"/>
              <a:gd name="T58" fmla="*/ 0 w 275"/>
              <a:gd name="T59" fmla="*/ 1873 h 2964"/>
              <a:gd name="T60" fmla="*/ 160 w 275"/>
              <a:gd name="T61" fmla="*/ 1093 h 2964"/>
              <a:gd name="T62" fmla="*/ 0 w 275"/>
              <a:gd name="T63" fmla="*/ 1118 h 2964"/>
              <a:gd name="T64" fmla="*/ 0 w 275"/>
              <a:gd name="T65" fmla="*/ 2509 h 2964"/>
              <a:gd name="T66" fmla="*/ 160 w 275"/>
              <a:gd name="T67" fmla="*/ 2533 h 2964"/>
              <a:gd name="T68" fmla="*/ 0 w 275"/>
              <a:gd name="T69" fmla="*/ 2509 h 2964"/>
              <a:gd name="T70" fmla="*/ 160 w 275"/>
              <a:gd name="T71" fmla="*/ 1730 h 2964"/>
              <a:gd name="T72" fmla="*/ 0 w 275"/>
              <a:gd name="T73" fmla="*/ 1754 h 2964"/>
              <a:gd name="T74" fmla="*/ 0 w 275"/>
              <a:gd name="T75" fmla="*/ 950 h 2964"/>
              <a:gd name="T76" fmla="*/ 160 w 275"/>
              <a:gd name="T77" fmla="*/ 975 h 2964"/>
              <a:gd name="T78" fmla="*/ 0 w 275"/>
              <a:gd name="T79" fmla="*/ 950 h 2964"/>
              <a:gd name="T80" fmla="*/ 275 w 275"/>
              <a:gd name="T81" fmla="*/ 0 h 2964"/>
              <a:gd name="T82" fmla="*/ 0 w 275"/>
              <a:gd name="T83" fmla="*/ 25 h 2964"/>
              <a:gd name="T84" fmla="*/ 0 w 275"/>
              <a:gd name="T85" fmla="*/ 601 h 2964"/>
              <a:gd name="T86" fmla="*/ 160 w 275"/>
              <a:gd name="T87" fmla="*/ 626 h 2964"/>
              <a:gd name="T88" fmla="*/ 0 w 275"/>
              <a:gd name="T89" fmla="*/ 601 h 2964"/>
              <a:gd name="T90" fmla="*/ 160 w 275"/>
              <a:gd name="T91" fmla="*/ 458 h 2964"/>
              <a:gd name="T92" fmla="*/ 0 w 275"/>
              <a:gd name="T93" fmla="*/ 482 h 2964"/>
              <a:gd name="T94" fmla="*/ 0 w 275"/>
              <a:gd name="T95" fmla="*/ 315 h 2964"/>
              <a:gd name="T96" fmla="*/ 160 w 275"/>
              <a:gd name="T97" fmla="*/ 338 h 2964"/>
              <a:gd name="T98" fmla="*/ 0 w 275"/>
              <a:gd name="T99" fmla="*/ 315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5" h="2964">
                <a:moveTo>
                  <a:pt x="0" y="171"/>
                </a:moveTo>
                <a:lnTo>
                  <a:pt x="160" y="171"/>
                </a:lnTo>
                <a:lnTo>
                  <a:pt x="160" y="195"/>
                </a:lnTo>
                <a:lnTo>
                  <a:pt x="0" y="195"/>
                </a:lnTo>
                <a:lnTo>
                  <a:pt x="0" y="171"/>
                </a:lnTo>
                <a:close/>
                <a:moveTo>
                  <a:pt x="0" y="2340"/>
                </a:moveTo>
                <a:lnTo>
                  <a:pt x="275" y="2340"/>
                </a:lnTo>
                <a:lnTo>
                  <a:pt x="275" y="2363"/>
                </a:lnTo>
                <a:lnTo>
                  <a:pt x="0" y="2363"/>
                </a:lnTo>
                <a:lnTo>
                  <a:pt x="0" y="2340"/>
                </a:lnTo>
                <a:close/>
                <a:moveTo>
                  <a:pt x="0" y="1560"/>
                </a:moveTo>
                <a:lnTo>
                  <a:pt x="275" y="1560"/>
                </a:lnTo>
                <a:lnTo>
                  <a:pt x="275" y="1584"/>
                </a:lnTo>
                <a:lnTo>
                  <a:pt x="0" y="1584"/>
                </a:lnTo>
                <a:lnTo>
                  <a:pt x="0" y="1560"/>
                </a:lnTo>
                <a:close/>
                <a:moveTo>
                  <a:pt x="0" y="780"/>
                </a:moveTo>
                <a:lnTo>
                  <a:pt x="275" y="780"/>
                </a:lnTo>
                <a:lnTo>
                  <a:pt x="275" y="805"/>
                </a:lnTo>
                <a:lnTo>
                  <a:pt x="0" y="805"/>
                </a:lnTo>
                <a:lnTo>
                  <a:pt x="0" y="780"/>
                </a:lnTo>
                <a:close/>
                <a:moveTo>
                  <a:pt x="0" y="2939"/>
                </a:moveTo>
                <a:lnTo>
                  <a:pt x="160" y="2939"/>
                </a:lnTo>
                <a:lnTo>
                  <a:pt x="160" y="2964"/>
                </a:lnTo>
                <a:lnTo>
                  <a:pt x="0" y="2964"/>
                </a:lnTo>
                <a:lnTo>
                  <a:pt x="0" y="2939"/>
                </a:lnTo>
                <a:close/>
                <a:moveTo>
                  <a:pt x="0" y="2160"/>
                </a:moveTo>
                <a:lnTo>
                  <a:pt x="160" y="2160"/>
                </a:lnTo>
                <a:lnTo>
                  <a:pt x="160" y="2184"/>
                </a:lnTo>
                <a:lnTo>
                  <a:pt x="0" y="2184"/>
                </a:lnTo>
                <a:lnTo>
                  <a:pt x="0" y="2160"/>
                </a:lnTo>
                <a:close/>
                <a:moveTo>
                  <a:pt x="0" y="1381"/>
                </a:moveTo>
                <a:lnTo>
                  <a:pt x="160" y="1381"/>
                </a:lnTo>
                <a:lnTo>
                  <a:pt x="160" y="1406"/>
                </a:lnTo>
                <a:lnTo>
                  <a:pt x="0" y="1406"/>
                </a:lnTo>
                <a:lnTo>
                  <a:pt x="0" y="1381"/>
                </a:lnTo>
                <a:close/>
                <a:moveTo>
                  <a:pt x="0" y="2797"/>
                </a:moveTo>
                <a:lnTo>
                  <a:pt x="160" y="2797"/>
                </a:lnTo>
                <a:lnTo>
                  <a:pt x="160" y="2820"/>
                </a:lnTo>
                <a:lnTo>
                  <a:pt x="0" y="2820"/>
                </a:lnTo>
                <a:lnTo>
                  <a:pt x="0" y="2797"/>
                </a:lnTo>
                <a:close/>
                <a:moveTo>
                  <a:pt x="0" y="2017"/>
                </a:moveTo>
                <a:lnTo>
                  <a:pt x="160" y="2017"/>
                </a:lnTo>
                <a:lnTo>
                  <a:pt x="160" y="2041"/>
                </a:lnTo>
                <a:lnTo>
                  <a:pt x="0" y="2041"/>
                </a:lnTo>
                <a:lnTo>
                  <a:pt x="0" y="2017"/>
                </a:lnTo>
                <a:close/>
                <a:moveTo>
                  <a:pt x="0" y="1237"/>
                </a:moveTo>
                <a:lnTo>
                  <a:pt x="160" y="1237"/>
                </a:lnTo>
                <a:lnTo>
                  <a:pt x="160" y="1262"/>
                </a:lnTo>
                <a:lnTo>
                  <a:pt x="0" y="1262"/>
                </a:lnTo>
                <a:lnTo>
                  <a:pt x="0" y="1237"/>
                </a:lnTo>
                <a:close/>
                <a:moveTo>
                  <a:pt x="0" y="2653"/>
                </a:moveTo>
                <a:lnTo>
                  <a:pt x="160" y="2653"/>
                </a:lnTo>
                <a:lnTo>
                  <a:pt x="160" y="2677"/>
                </a:lnTo>
                <a:lnTo>
                  <a:pt x="0" y="2677"/>
                </a:lnTo>
                <a:lnTo>
                  <a:pt x="0" y="2653"/>
                </a:lnTo>
                <a:close/>
                <a:moveTo>
                  <a:pt x="0" y="1873"/>
                </a:moveTo>
                <a:lnTo>
                  <a:pt x="160" y="1873"/>
                </a:lnTo>
                <a:lnTo>
                  <a:pt x="160" y="1897"/>
                </a:lnTo>
                <a:lnTo>
                  <a:pt x="0" y="1897"/>
                </a:lnTo>
                <a:lnTo>
                  <a:pt x="0" y="1873"/>
                </a:lnTo>
                <a:close/>
                <a:moveTo>
                  <a:pt x="0" y="1093"/>
                </a:moveTo>
                <a:lnTo>
                  <a:pt x="160" y="1093"/>
                </a:lnTo>
                <a:lnTo>
                  <a:pt x="160" y="1118"/>
                </a:lnTo>
                <a:lnTo>
                  <a:pt x="0" y="1118"/>
                </a:lnTo>
                <a:lnTo>
                  <a:pt x="0" y="1093"/>
                </a:lnTo>
                <a:close/>
                <a:moveTo>
                  <a:pt x="0" y="2509"/>
                </a:moveTo>
                <a:lnTo>
                  <a:pt x="160" y="2509"/>
                </a:lnTo>
                <a:lnTo>
                  <a:pt x="160" y="2533"/>
                </a:lnTo>
                <a:lnTo>
                  <a:pt x="0" y="2533"/>
                </a:lnTo>
                <a:lnTo>
                  <a:pt x="0" y="2509"/>
                </a:lnTo>
                <a:close/>
                <a:moveTo>
                  <a:pt x="0" y="1730"/>
                </a:moveTo>
                <a:lnTo>
                  <a:pt x="160" y="1730"/>
                </a:lnTo>
                <a:lnTo>
                  <a:pt x="160" y="1754"/>
                </a:lnTo>
                <a:lnTo>
                  <a:pt x="0" y="1754"/>
                </a:lnTo>
                <a:lnTo>
                  <a:pt x="0" y="1730"/>
                </a:lnTo>
                <a:close/>
                <a:moveTo>
                  <a:pt x="0" y="950"/>
                </a:moveTo>
                <a:lnTo>
                  <a:pt x="160" y="950"/>
                </a:lnTo>
                <a:lnTo>
                  <a:pt x="160" y="975"/>
                </a:lnTo>
                <a:lnTo>
                  <a:pt x="0" y="975"/>
                </a:lnTo>
                <a:lnTo>
                  <a:pt x="0" y="950"/>
                </a:lnTo>
                <a:close/>
                <a:moveTo>
                  <a:pt x="0" y="0"/>
                </a:moveTo>
                <a:lnTo>
                  <a:pt x="275" y="0"/>
                </a:lnTo>
                <a:lnTo>
                  <a:pt x="275" y="25"/>
                </a:lnTo>
                <a:lnTo>
                  <a:pt x="0" y="25"/>
                </a:lnTo>
                <a:lnTo>
                  <a:pt x="0" y="0"/>
                </a:lnTo>
                <a:close/>
                <a:moveTo>
                  <a:pt x="0" y="601"/>
                </a:moveTo>
                <a:lnTo>
                  <a:pt x="160" y="601"/>
                </a:lnTo>
                <a:lnTo>
                  <a:pt x="160" y="626"/>
                </a:lnTo>
                <a:lnTo>
                  <a:pt x="0" y="626"/>
                </a:lnTo>
                <a:lnTo>
                  <a:pt x="0" y="601"/>
                </a:lnTo>
                <a:close/>
                <a:moveTo>
                  <a:pt x="0" y="458"/>
                </a:moveTo>
                <a:lnTo>
                  <a:pt x="160" y="458"/>
                </a:lnTo>
                <a:lnTo>
                  <a:pt x="160" y="482"/>
                </a:lnTo>
                <a:lnTo>
                  <a:pt x="0" y="482"/>
                </a:lnTo>
                <a:lnTo>
                  <a:pt x="0" y="458"/>
                </a:lnTo>
                <a:close/>
                <a:moveTo>
                  <a:pt x="0" y="315"/>
                </a:moveTo>
                <a:lnTo>
                  <a:pt x="160" y="315"/>
                </a:lnTo>
                <a:lnTo>
                  <a:pt x="160" y="338"/>
                </a:lnTo>
                <a:lnTo>
                  <a:pt x="0" y="338"/>
                </a:lnTo>
                <a:lnTo>
                  <a:pt x="0" y="315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5"/>
          <p:cNvSpPr>
            <a:spLocks/>
          </p:cNvSpPr>
          <p:nvPr/>
        </p:nvSpPr>
        <p:spPr bwMode="auto">
          <a:xfrm>
            <a:off x="6673887" y="1868286"/>
            <a:ext cx="876588" cy="3486162"/>
          </a:xfrm>
          <a:custGeom>
            <a:avLst/>
            <a:gdLst>
              <a:gd name="T0" fmla="*/ 665 w 1214"/>
              <a:gd name="T1" fmla="*/ 5 h 4837"/>
              <a:gd name="T2" fmla="*/ 728 w 1214"/>
              <a:gd name="T3" fmla="*/ 21 h 4837"/>
              <a:gd name="T4" fmla="*/ 786 w 1214"/>
              <a:gd name="T5" fmla="*/ 49 h 4837"/>
              <a:gd name="T6" fmla="*/ 837 w 1214"/>
              <a:gd name="T7" fmla="*/ 87 h 4837"/>
              <a:gd name="T8" fmla="*/ 879 w 1214"/>
              <a:gd name="T9" fmla="*/ 133 h 4837"/>
              <a:gd name="T10" fmla="*/ 912 w 1214"/>
              <a:gd name="T11" fmla="*/ 188 h 4837"/>
              <a:gd name="T12" fmla="*/ 935 w 1214"/>
              <a:gd name="T13" fmla="*/ 249 h 4837"/>
              <a:gd name="T14" fmla="*/ 945 w 1214"/>
              <a:gd name="T15" fmla="*/ 315 h 4837"/>
              <a:gd name="T16" fmla="*/ 975 w 1214"/>
              <a:gd name="T17" fmla="*/ 3747 h 4837"/>
              <a:gd name="T18" fmla="*/ 1030 w 1214"/>
              <a:gd name="T19" fmla="*/ 3794 h 4837"/>
              <a:gd name="T20" fmla="*/ 1080 w 1214"/>
              <a:gd name="T21" fmla="*/ 3848 h 4837"/>
              <a:gd name="T22" fmla="*/ 1122 w 1214"/>
              <a:gd name="T23" fmla="*/ 3908 h 4837"/>
              <a:gd name="T24" fmla="*/ 1157 w 1214"/>
              <a:gd name="T25" fmla="*/ 3973 h 4837"/>
              <a:gd name="T26" fmla="*/ 1184 w 1214"/>
              <a:gd name="T27" fmla="*/ 4042 h 4837"/>
              <a:gd name="T28" fmla="*/ 1203 w 1214"/>
              <a:gd name="T29" fmla="*/ 4114 h 4837"/>
              <a:gd name="T30" fmla="*/ 1213 w 1214"/>
              <a:gd name="T31" fmla="*/ 4191 h 4837"/>
              <a:gd name="T32" fmla="*/ 1210 w 1214"/>
              <a:gd name="T33" fmla="*/ 4292 h 4837"/>
              <a:gd name="T34" fmla="*/ 1187 w 1214"/>
              <a:gd name="T35" fmla="*/ 4410 h 4837"/>
              <a:gd name="T36" fmla="*/ 1140 w 1214"/>
              <a:gd name="T37" fmla="*/ 4519 h 4837"/>
              <a:gd name="T38" fmla="*/ 1075 w 1214"/>
              <a:gd name="T39" fmla="*/ 4616 h 4837"/>
              <a:gd name="T40" fmla="*/ 993 w 1214"/>
              <a:gd name="T41" fmla="*/ 4698 h 4837"/>
              <a:gd name="T42" fmla="*/ 896 w 1214"/>
              <a:gd name="T43" fmla="*/ 4764 h 4837"/>
              <a:gd name="T44" fmla="*/ 787 w 1214"/>
              <a:gd name="T45" fmla="*/ 4810 h 4837"/>
              <a:gd name="T46" fmla="*/ 668 w 1214"/>
              <a:gd name="T47" fmla="*/ 4834 h 4837"/>
              <a:gd name="T48" fmla="*/ 544 w 1214"/>
              <a:gd name="T49" fmla="*/ 4834 h 4837"/>
              <a:gd name="T50" fmla="*/ 426 w 1214"/>
              <a:gd name="T51" fmla="*/ 4810 h 4837"/>
              <a:gd name="T52" fmla="*/ 317 w 1214"/>
              <a:gd name="T53" fmla="*/ 4764 h 4837"/>
              <a:gd name="T54" fmla="*/ 220 w 1214"/>
              <a:gd name="T55" fmla="*/ 4698 h 4837"/>
              <a:gd name="T56" fmla="*/ 138 w 1214"/>
              <a:gd name="T57" fmla="*/ 4616 h 4837"/>
              <a:gd name="T58" fmla="*/ 72 w 1214"/>
              <a:gd name="T59" fmla="*/ 4519 h 4837"/>
              <a:gd name="T60" fmla="*/ 27 w 1214"/>
              <a:gd name="T61" fmla="*/ 4410 h 4837"/>
              <a:gd name="T62" fmla="*/ 2 w 1214"/>
              <a:gd name="T63" fmla="*/ 4292 h 4837"/>
              <a:gd name="T64" fmla="*/ 1 w 1214"/>
              <a:gd name="T65" fmla="*/ 4190 h 4837"/>
              <a:gd name="T66" fmla="*/ 11 w 1214"/>
              <a:gd name="T67" fmla="*/ 4111 h 4837"/>
              <a:gd name="T68" fmla="*/ 31 w 1214"/>
              <a:gd name="T69" fmla="*/ 4036 h 4837"/>
              <a:gd name="T70" fmla="*/ 60 w 1214"/>
              <a:gd name="T71" fmla="*/ 3965 h 4837"/>
              <a:gd name="T72" fmla="*/ 97 w 1214"/>
              <a:gd name="T73" fmla="*/ 3899 h 4837"/>
              <a:gd name="T74" fmla="*/ 142 w 1214"/>
              <a:gd name="T75" fmla="*/ 3839 h 4837"/>
              <a:gd name="T76" fmla="*/ 194 w 1214"/>
              <a:gd name="T77" fmla="*/ 3784 h 4837"/>
              <a:gd name="T78" fmla="*/ 252 w 1214"/>
              <a:gd name="T79" fmla="*/ 3736 h 4837"/>
              <a:gd name="T80" fmla="*/ 285 w 1214"/>
              <a:gd name="T81" fmla="*/ 315 h 4837"/>
              <a:gd name="T82" fmla="*/ 295 w 1214"/>
              <a:gd name="T83" fmla="*/ 249 h 4837"/>
              <a:gd name="T84" fmla="*/ 316 w 1214"/>
              <a:gd name="T85" fmla="*/ 188 h 4837"/>
              <a:gd name="T86" fmla="*/ 350 w 1214"/>
              <a:gd name="T87" fmla="*/ 133 h 4837"/>
              <a:gd name="T88" fmla="*/ 393 w 1214"/>
              <a:gd name="T89" fmla="*/ 87 h 4837"/>
              <a:gd name="T90" fmla="*/ 444 w 1214"/>
              <a:gd name="T91" fmla="*/ 49 h 4837"/>
              <a:gd name="T92" fmla="*/ 501 w 1214"/>
              <a:gd name="T93" fmla="*/ 21 h 4837"/>
              <a:gd name="T94" fmla="*/ 565 w 1214"/>
              <a:gd name="T95" fmla="*/ 5 h 4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4" h="4837">
                <a:moveTo>
                  <a:pt x="614" y="0"/>
                </a:moveTo>
                <a:lnTo>
                  <a:pt x="632" y="1"/>
                </a:lnTo>
                <a:lnTo>
                  <a:pt x="648" y="3"/>
                </a:lnTo>
                <a:lnTo>
                  <a:pt x="665" y="5"/>
                </a:lnTo>
                <a:lnTo>
                  <a:pt x="681" y="7"/>
                </a:lnTo>
                <a:lnTo>
                  <a:pt x="696" y="11"/>
                </a:lnTo>
                <a:lnTo>
                  <a:pt x="713" y="16"/>
                </a:lnTo>
                <a:lnTo>
                  <a:pt x="728" y="21"/>
                </a:lnTo>
                <a:lnTo>
                  <a:pt x="743" y="26"/>
                </a:lnTo>
                <a:lnTo>
                  <a:pt x="758" y="34"/>
                </a:lnTo>
                <a:lnTo>
                  <a:pt x="772" y="40"/>
                </a:lnTo>
                <a:lnTo>
                  <a:pt x="786" y="49"/>
                </a:lnTo>
                <a:lnTo>
                  <a:pt x="799" y="58"/>
                </a:lnTo>
                <a:lnTo>
                  <a:pt x="812" y="66"/>
                </a:lnTo>
                <a:lnTo>
                  <a:pt x="825" y="76"/>
                </a:lnTo>
                <a:lnTo>
                  <a:pt x="837" y="87"/>
                </a:lnTo>
                <a:lnTo>
                  <a:pt x="847" y="98"/>
                </a:lnTo>
                <a:lnTo>
                  <a:pt x="859" y="109"/>
                </a:lnTo>
                <a:lnTo>
                  <a:pt x="869" y="121"/>
                </a:lnTo>
                <a:lnTo>
                  <a:pt x="879" y="133"/>
                </a:lnTo>
                <a:lnTo>
                  <a:pt x="889" y="146"/>
                </a:lnTo>
                <a:lnTo>
                  <a:pt x="897" y="160"/>
                </a:lnTo>
                <a:lnTo>
                  <a:pt x="905" y="174"/>
                </a:lnTo>
                <a:lnTo>
                  <a:pt x="912" y="188"/>
                </a:lnTo>
                <a:lnTo>
                  <a:pt x="919" y="202"/>
                </a:lnTo>
                <a:lnTo>
                  <a:pt x="925" y="217"/>
                </a:lnTo>
                <a:lnTo>
                  <a:pt x="930" y="234"/>
                </a:lnTo>
                <a:lnTo>
                  <a:pt x="935" y="249"/>
                </a:lnTo>
                <a:lnTo>
                  <a:pt x="938" y="265"/>
                </a:lnTo>
                <a:lnTo>
                  <a:pt x="941" y="281"/>
                </a:lnTo>
                <a:lnTo>
                  <a:pt x="944" y="297"/>
                </a:lnTo>
                <a:lnTo>
                  <a:pt x="945" y="315"/>
                </a:lnTo>
                <a:lnTo>
                  <a:pt x="945" y="331"/>
                </a:lnTo>
                <a:lnTo>
                  <a:pt x="945" y="3725"/>
                </a:lnTo>
                <a:lnTo>
                  <a:pt x="960" y="3736"/>
                </a:lnTo>
                <a:lnTo>
                  <a:pt x="975" y="3747"/>
                </a:lnTo>
                <a:lnTo>
                  <a:pt x="989" y="3758"/>
                </a:lnTo>
                <a:lnTo>
                  <a:pt x="1003" y="3770"/>
                </a:lnTo>
                <a:lnTo>
                  <a:pt x="1017" y="3781"/>
                </a:lnTo>
                <a:lnTo>
                  <a:pt x="1030" y="3794"/>
                </a:lnTo>
                <a:lnTo>
                  <a:pt x="1043" y="3807"/>
                </a:lnTo>
                <a:lnTo>
                  <a:pt x="1056" y="3820"/>
                </a:lnTo>
                <a:lnTo>
                  <a:pt x="1068" y="3834"/>
                </a:lnTo>
                <a:lnTo>
                  <a:pt x="1080" y="3848"/>
                </a:lnTo>
                <a:lnTo>
                  <a:pt x="1090" y="3862"/>
                </a:lnTo>
                <a:lnTo>
                  <a:pt x="1101" y="3878"/>
                </a:lnTo>
                <a:lnTo>
                  <a:pt x="1112" y="3893"/>
                </a:lnTo>
                <a:lnTo>
                  <a:pt x="1122" y="3908"/>
                </a:lnTo>
                <a:lnTo>
                  <a:pt x="1132" y="3923"/>
                </a:lnTo>
                <a:lnTo>
                  <a:pt x="1140" y="3939"/>
                </a:lnTo>
                <a:lnTo>
                  <a:pt x="1149" y="3955"/>
                </a:lnTo>
                <a:lnTo>
                  <a:pt x="1157" y="3973"/>
                </a:lnTo>
                <a:lnTo>
                  <a:pt x="1165" y="3989"/>
                </a:lnTo>
                <a:lnTo>
                  <a:pt x="1171" y="4006"/>
                </a:lnTo>
                <a:lnTo>
                  <a:pt x="1178" y="4023"/>
                </a:lnTo>
                <a:lnTo>
                  <a:pt x="1184" y="4042"/>
                </a:lnTo>
                <a:lnTo>
                  <a:pt x="1190" y="4059"/>
                </a:lnTo>
                <a:lnTo>
                  <a:pt x="1195" y="4077"/>
                </a:lnTo>
                <a:lnTo>
                  <a:pt x="1200" y="4096"/>
                </a:lnTo>
                <a:lnTo>
                  <a:pt x="1203" y="4114"/>
                </a:lnTo>
                <a:lnTo>
                  <a:pt x="1206" y="4134"/>
                </a:lnTo>
                <a:lnTo>
                  <a:pt x="1209" y="4152"/>
                </a:lnTo>
                <a:lnTo>
                  <a:pt x="1211" y="4171"/>
                </a:lnTo>
                <a:lnTo>
                  <a:pt x="1213" y="4191"/>
                </a:lnTo>
                <a:lnTo>
                  <a:pt x="1214" y="4210"/>
                </a:lnTo>
                <a:lnTo>
                  <a:pt x="1214" y="4230"/>
                </a:lnTo>
                <a:lnTo>
                  <a:pt x="1214" y="4261"/>
                </a:lnTo>
                <a:lnTo>
                  <a:pt x="1210" y="4292"/>
                </a:lnTo>
                <a:lnTo>
                  <a:pt x="1207" y="4323"/>
                </a:lnTo>
                <a:lnTo>
                  <a:pt x="1202" y="4352"/>
                </a:lnTo>
                <a:lnTo>
                  <a:pt x="1195" y="4382"/>
                </a:lnTo>
                <a:lnTo>
                  <a:pt x="1187" y="4410"/>
                </a:lnTo>
                <a:lnTo>
                  <a:pt x="1177" y="4438"/>
                </a:lnTo>
                <a:lnTo>
                  <a:pt x="1166" y="4466"/>
                </a:lnTo>
                <a:lnTo>
                  <a:pt x="1154" y="4493"/>
                </a:lnTo>
                <a:lnTo>
                  <a:pt x="1140" y="4519"/>
                </a:lnTo>
                <a:lnTo>
                  <a:pt x="1126" y="4545"/>
                </a:lnTo>
                <a:lnTo>
                  <a:pt x="1110" y="4569"/>
                </a:lnTo>
                <a:lnTo>
                  <a:pt x="1094" y="4594"/>
                </a:lnTo>
                <a:lnTo>
                  <a:pt x="1075" y="4616"/>
                </a:lnTo>
                <a:lnTo>
                  <a:pt x="1056" y="4638"/>
                </a:lnTo>
                <a:lnTo>
                  <a:pt x="1036" y="4660"/>
                </a:lnTo>
                <a:lnTo>
                  <a:pt x="1015" y="4679"/>
                </a:lnTo>
                <a:lnTo>
                  <a:pt x="993" y="4698"/>
                </a:lnTo>
                <a:lnTo>
                  <a:pt x="970" y="4717"/>
                </a:lnTo>
                <a:lnTo>
                  <a:pt x="946" y="4733"/>
                </a:lnTo>
                <a:lnTo>
                  <a:pt x="922" y="4749"/>
                </a:lnTo>
                <a:lnTo>
                  <a:pt x="896" y="4764"/>
                </a:lnTo>
                <a:lnTo>
                  <a:pt x="870" y="4777"/>
                </a:lnTo>
                <a:lnTo>
                  <a:pt x="843" y="4789"/>
                </a:lnTo>
                <a:lnTo>
                  <a:pt x="815" y="4800"/>
                </a:lnTo>
                <a:lnTo>
                  <a:pt x="787" y="4810"/>
                </a:lnTo>
                <a:lnTo>
                  <a:pt x="758" y="4818"/>
                </a:lnTo>
                <a:lnTo>
                  <a:pt x="729" y="4825"/>
                </a:lnTo>
                <a:lnTo>
                  <a:pt x="700" y="4830"/>
                </a:lnTo>
                <a:lnTo>
                  <a:pt x="668" y="4834"/>
                </a:lnTo>
                <a:lnTo>
                  <a:pt x="638" y="4837"/>
                </a:lnTo>
                <a:lnTo>
                  <a:pt x="607" y="4837"/>
                </a:lnTo>
                <a:lnTo>
                  <a:pt x="575" y="4837"/>
                </a:lnTo>
                <a:lnTo>
                  <a:pt x="544" y="4834"/>
                </a:lnTo>
                <a:lnTo>
                  <a:pt x="514" y="4830"/>
                </a:lnTo>
                <a:lnTo>
                  <a:pt x="485" y="4825"/>
                </a:lnTo>
                <a:lnTo>
                  <a:pt x="454" y="4818"/>
                </a:lnTo>
                <a:lnTo>
                  <a:pt x="426" y="4810"/>
                </a:lnTo>
                <a:lnTo>
                  <a:pt x="398" y="4800"/>
                </a:lnTo>
                <a:lnTo>
                  <a:pt x="370" y="4789"/>
                </a:lnTo>
                <a:lnTo>
                  <a:pt x="343" y="4777"/>
                </a:lnTo>
                <a:lnTo>
                  <a:pt x="317" y="4764"/>
                </a:lnTo>
                <a:lnTo>
                  <a:pt x="291" y="4749"/>
                </a:lnTo>
                <a:lnTo>
                  <a:pt x="267" y="4733"/>
                </a:lnTo>
                <a:lnTo>
                  <a:pt x="243" y="4717"/>
                </a:lnTo>
                <a:lnTo>
                  <a:pt x="220" y="4698"/>
                </a:lnTo>
                <a:lnTo>
                  <a:pt x="198" y="4679"/>
                </a:lnTo>
                <a:lnTo>
                  <a:pt x="177" y="4660"/>
                </a:lnTo>
                <a:lnTo>
                  <a:pt x="157" y="4638"/>
                </a:lnTo>
                <a:lnTo>
                  <a:pt x="138" y="4616"/>
                </a:lnTo>
                <a:lnTo>
                  <a:pt x="120" y="4594"/>
                </a:lnTo>
                <a:lnTo>
                  <a:pt x="103" y="4569"/>
                </a:lnTo>
                <a:lnTo>
                  <a:pt x="87" y="4545"/>
                </a:lnTo>
                <a:lnTo>
                  <a:pt x="72" y="4519"/>
                </a:lnTo>
                <a:lnTo>
                  <a:pt x="59" y="4493"/>
                </a:lnTo>
                <a:lnTo>
                  <a:pt x="47" y="4466"/>
                </a:lnTo>
                <a:lnTo>
                  <a:pt x="36" y="4438"/>
                </a:lnTo>
                <a:lnTo>
                  <a:pt x="27" y="4410"/>
                </a:lnTo>
                <a:lnTo>
                  <a:pt x="18" y="4382"/>
                </a:lnTo>
                <a:lnTo>
                  <a:pt x="12" y="4352"/>
                </a:lnTo>
                <a:lnTo>
                  <a:pt x="6" y="4323"/>
                </a:lnTo>
                <a:lnTo>
                  <a:pt x="2" y="4292"/>
                </a:lnTo>
                <a:lnTo>
                  <a:pt x="0" y="4261"/>
                </a:lnTo>
                <a:lnTo>
                  <a:pt x="0" y="4230"/>
                </a:lnTo>
                <a:lnTo>
                  <a:pt x="0" y="4209"/>
                </a:lnTo>
                <a:lnTo>
                  <a:pt x="1" y="4190"/>
                </a:lnTo>
                <a:lnTo>
                  <a:pt x="2" y="4169"/>
                </a:lnTo>
                <a:lnTo>
                  <a:pt x="4" y="4150"/>
                </a:lnTo>
                <a:lnTo>
                  <a:pt x="7" y="4130"/>
                </a:lnTo>
                <a:lnTo>
                  <a:pt x="11" y="4111"/>
                </a:lnTo>
                <a:lnTo>
                  <a:pt x="15" y="4091"/>
                </a:lnTo>
                <a:lnTo>
                  <a:pt x="19" y="4073"/>
                </a:lnTo>
                <a:lnTo>
                  <a:pt x="25" y="4055"/>
                </a:lnTo>
                <a:lnTo>
                  <a:pt x="31" y="4036"/>
                </a:lnTo>
                <a:lnTo>
                  <a:pt x="38" y="4018"/>
                </a:lnTo>
                <a:lnTo>
                  <a:pt x="44" y="4000"/>
                </a:lnTo>
                <a:lnTo>
                  <a:pt x="52" y="3982"/>
                </a:lnTo>
                <a:lnTo>
                  <a:pt x="60" y="3965"/>
                </a:lnTo>
                <a:lnTo>
                  <a:pt x="69" y="3948"/>
                </a:lnTo>
                <a:lnTo>
                  <a:pt x="78" y="3932"/>
                </a:lnTo>
                <a:lnTo>
                  <a:pt x="87" y="3915"/>
                </a:lnTo>
                <a:lnTo>
                  <a:pt x="97" y="3899"/>
                </a:lnTo>
                <a:lnTo>
                  <a:pt x="108" y="3883"/>
                </a:lnTo>
                <a:lnTo>
                  <a:pt x="119" y="3868"/>
                </a:lnTo>
                <a:lnTo>
                  <a:pt x="130" y="3853"/>
                </a:lnTo>
                <a:lnTo>
                  <a:pt x="142" y="3839"/>
                </a:lnTo>
                <a:lnTo>
                  <a:pt x="154" y="3824"/>
                </a:lnTo>
                <a:lnTo>
                  <a:pt x="167" y="3811"/>
                </a:lnTo>
                <a:lnTo>
                  <a:pt x="180" y="3797"/>
                </a:lnTo>
                <a:lnTo>
                  <a:pt x="194" y="3784"/>
                </a:lnTo>
                <a:lnTo>
                  <a:pt x="208" y="3772"/>
                </a:lnTo>
                <a:lnTo>
                  <a:pt x="222" y="3759"/>
                </a:lnTo>
                <a:lnTo>
                  <a:pt x="237" y="3747"/>
                </a:lnTo>
                <a:lnTo>
                  <a:pt x="252" y="3736"/>
                </a:lnTo>
                <a:lnTo>
                  <a:pt x="268" y="3725"/>
                </a:lnTo>
                <a:lnTo>
                  <a:pt x="284" y="3715"/>
                </a:lnTo>
                <a:lnTo>
                  <a:pt x="284" y="331"/>
                </a:lnTo>
                <a:lnTo>
                  <a:pt x="285" y="315"/>
                </a:lnTo>
                <a:lnTo>
                  <a:pt x="286" y="297"/>
                </a:lnTo>
                <a:lnTo>
                  <a:pt x="288" y="281"/>
                </a:lnTo>
                <a:lnTo>
                  <a:pt x="290" y="265"/>
                </a:lnTo>
                <a:lnTo>
                  <a:pt x="295" y="249"/>
                </a:lnTo>
                <a:lnTo>
                  <a:pt x="299" y="234"/>
                </a:lnTo>
                <a:lnTo>
                  <a:pt x="304" y="217"/>
                </a:lnTo>
                <a:lnTo>
                  <a:pt x="310" y="202"/>
                </a:lnTo>
                <a:lnTo>
                  <a:pt x="316" y="188"/>
                </a:lnTo>
                <a:lnTo>
                  <a:pt x="324" y="174"/>
                </a:lnTo>
                <a:lnTo>
                  <a:pt x="332" y="160"/>
                </a:lnTo>
                <a:lnTo>
                  <a:pt x="341" y="146"/>
                </a:lnTo>
                <a:lnTo>
                  <a:pt x="350" y="133"/>
                </a:lnTo>
                <a:lnTo>
                  <a:pt x="359" y="121"/>
                </a:lnTo>
                <a:lnTo>
                  <a:pt x="370" y="109"/>
                </a:lnTo>
                <a:lnTo>
                  <a:pt x="381" y="98"/>
                </a:lnTo>
                <a:lnTo>
                  <a:pt x="393" y="87"/>
                </a:lnTo>
                <a:lnTo>
                  <a:pt x="405" y="76"/>
                </a:lnTo>
                <a:lnTo>
                  <a:pt x="417" y="66"/>
                </a:lnTo>
                <a:lnTo>
                  <a:pt x="430" y="58"/>
                </a:lnTo>
                <a:lnTo>
                  <a:pt x="444" y="49"/>
                </a:lnTo>
                <a:lnTo>
                  <a:pt x="458" y="40"/>
                </a:lnTo>
                <a:lnTo>
                  <a:pt x="472" y="34"/>
                </a:lnTo>
                <a:lnTo>
                  <a:pt x="486" y="26"/>
                </a:lnTo>
                <a:lnTo>
                  <a:pt x="501" y="21"/>
                </a:lnTo>
                <a:lnTo>
                  <a:pt x="516" y="16"/>
                </a:lnTo>
                <a:lnTo>
                  <a:pt x="532" y="11"/>
                </a:lnTo>
                <a:lnTo>
                  <a:pt x="548" y="7"/>
                </a:lnTo>
                <a:lnTo>
                  <a:pt x="565" y="5"/>
                </a:lnTo>
                <a:lnTo>
                  <a:pt x="581" y="3"/>
                </a:lnTo>
                <a:lnTo>
                  <a:pt x="598" y="1"/>
                </a:lnTo>
                <a:lnTo>
                  <a:pt x="6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6751742" y="4569155"/>
            <a:ext cx="715111" cy="715111"/>
          </a:xfrm>
          <a:prstGeom prst="ellipse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944937" y="2323881"/>
            <a:ext cx="328721" cy="2392460"/>
          </a:xfrm>
          <a:prstGeom prst="rect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17"/>
          <p:cNvSpPr>
            <a:spLocks/>
          </p:cNvSpPr>
          <p:nvPr/>
        </p:nvSpPr>
        <p:spPr bwMode="auto">
          <a:xfrm>
            <a:off x="6944937" y="2253699"/>
            <a:ext cx="328721" cy="121108"/>
          </a:xfrm>
          <a:custGeom>
            <a:avLst/>
            <a:gdLst>
              <a:gd name="T0" fmla="*/ 249 w 452"/>
              <a:gd name="T1" fmla="*/ 0 h 165"/>
              <a:gd name="T2" fmla="*/ 293 w 452"/>
              <a:gd name="T3" fmla="*/ 3 h 165"/>
              <a:gd name="T4" fmla="*/ 334 w 452"/>
              <a:gd name="T5" fmla="*/ 10 h 165"/>
              <a:gd name="T6" fmla="*/ 370 w 452"/>
              <a:gd name="T7" fmla="*/ 18 h 165"/>
              <a:gd name="T8" fmla="*/ 401 w 452"/>
              <a:gd name="T9" fmla="*/ 29 h 165"/>
              <a:gd name="T10" fmla="*/ 425 w 452"/>
              <a:gd name="T11" fmla="*/ 43 h 165"/>
              <a:gd name="T12" fmla="*/ 442 w 452"/>
              <a:gd name="T13" fmla="*/ 57 h 165"/>
              <a:gd name="T14" fmla="*/ 450 w 452"/>
              <a:gd name="T15" fmla="*/ 69 h 165"/>
              <a:gd name="T16" fmla="*/ 452 w 452"/>
              <a:gd name="T17" fmla="*/ 78 h 165"/>
              <a:gd name="T18" fmla="*/ 452 w 452"/>
              <a:gd name="T19" fmla="*/ 86 h 165"/>
              <a:gd name="T20" fmla="*/ 450 w 452"/>
              <a:gd name="T21" fmla="*/ 95 h 165"/>
              <a:gd name="T22" fmla="*/ 442 w 452"/>
              <a:gd name="T23" fmla="*/ 107 h 165"/>
              <a:gd name="T24" fmla="*/ 425 w 452"/>
              <a:gd name="T25" fmla="*/ 122 h 165"/>
              <a:gd name="T26" fmla="*/ 401 w 452"/>
              <a:gd name="T27" fmla="*/ 135 h 165"/>
              <a:gd name="T28" fmla="*/ 370 w 452"/>
              <a:gd name="T29" fmla="*/ 146 h 165"/>
              <a:gd name="T30" fmla="*/ 334 w 452"/>
              <a:gd name="T31" fmla="*/ 154 h 165"/>
              <a:gd name="T32" fmla="*/ 293 w 452"/>
              <a:gd name="T33" fmla="*/ 161 h 165"/>
              <a:gd name="T34" fmla="*/ 249 w 452"/>
              <a:gd name="T35" fmla="*/ 164 h 165"/>
              <a:gd name="T36" fmla="*/ 203 w 452"/>
              <a:gd name="T37" fmla="*/ 164 h 165"/>
              <a:gd name="T38" fmla="*/ 158 w 452"/>
              <a:gd name="T39" fmla="*/ 161 h 165"/>
              <a:gd name="T40" fmla="*/ 117 w 452"/>
              <a:gd name="T41" fmla="*/ 154 h 165"/>
              <a:gd name="T42" fmla="*/ 82 w 452"/>
              <a:gd name="T43" fmla="*/ 146 h 165"/>
              <a:gd name="T44" fmla="*/ 51 w 452"/>
              <a:gd name="T45" fmla="*/ 135 h 165"/>
              <a:gd name="T46" fmla="*/ 27 w 452"/>
              <a:gd name="T47" fmla="*/ 122 h 165"/>
              <a:gd name="T48" fmla="*/ 9 w 452"/>
              <a:gd name="T49" fmla="*/ 107 h 165"/>
              <a:gd name="T50" fmla="*/ 2 w 452"/>
              <a:gd name="T51" fmla="*/ 95 h 165"/>
              <a:gd name="T52" fmla="*/ 0 w 452"/>
              <a:gd name="T53" fmla="*/ 86 h 165"/>
              <a:gd name="T54" fmla="*/ 0 w 452"/>
              <a:gd name="T55" fmla="*/ 78 h 165"/>
              <a:gd name="T56" fmla="*/ 2 w 452"/>
              <a:gd name="T57" fmla="*/ 69 h 165"/>
              <a:gd name="T58" fmla="*/ 9 w 452"/>
              <a:gd name="T59" fmla="*/ 57 h 165"/>
              <a:gd name="T60" fmla="*/ 27 w 452"/>
              <a:gd name="T61" fmla="*/ 43 h 165"/>
              <a:gd name="T62" fmla="*/ 51 w 452"/>
              <a:gd name="T63" fmla="*/ 29 h 165"/>
              <a:gd name="T64" fmla="*/ 82 w 452"/>
              <a:gd name="T65" fmla="*/ 18 h 165"/>
              <a:gd name="T66" fmla="*/ 117 w 452"/>
              <a:gd name="T67" fmla="*/ 10 h 165"/>
              <a:gd name="T68" fmla="*/ 158 w 452"/>
              <a:gd name="T69" fmla="*/ 3 h 165"/>
              <a:gd name="T70" fmla="*/ 203 w 452"/>
              <a:gd name="T71" fmla="*/ 0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2" h="165">
                <a:moveTo>
                  <a:pt x="226" y="0"/>
                </a:moveTo>
                <a:lnTo>
                  <a:pt x="249" y="0"/>
                </a:lnTo>
                <a:lnTo>
                  <a:pt x="272" y="1"/>
                </a:lnTo>
                <a:lnTo>
                  <a:pt x="293" y="3"/>
                </a:lnTo>
                <a:lnTo>
                  <a:pt x="314" y="6"/>
                </a:lnTo>
                <a:lnTo>
                  <a:pt x="334" y="10"/>
                </a:lnTo>
                <a:lnTo>
                  <a:pt x="353" y="14"/>
                </a:lnTo>
                <a:lnTo>
                  <a:pt x="370" y="18"/>
                </a:lnTo>
                <a:lnTo>
                  <a:pt x="386" y="24"/>
                </a:lnTo>
                <a:lnTo>
                  <a:pt x="401" y="29"/>
                </a:lnTo>
                <a:lnTo>
                  <a:pt x="414" y="35"/>
                </a:lnTo>
                <a:lnTo>
                  <a:pt x="425" y="43"/>
                </a:lnTo>
                <a:lnTo>
                  <a:pt x="435" y="50"/>
                </a:lnTo>
                <a:lnTo>
                  <a:pt x="442" y="57"/>
                </a:lnTo>
                <a:lnTo>
                  <a:pt x="448" y="66"/>
                </a:lnTo>
                <a:lnTo>
                  <a:pt x="450" y="69"/>
                </a:lnTo>
                <a:lnTo>
                  <a:pt x="451" y="73"/>
                </a:lnTo>
                <a:lnTo>
                  <a:pt x="452" y="78"/>
                </a:lnTo>
                <a:lnTo>
                  <a:pt x="452" y="82"/>
                </a:lnTo>
                <a:lnTo>
                  <a:pt x="452" y="86"/>
                </a:lnTo>
                <a:lnTo>
                  <a:pt x="451" y="91"/>
                </a:lnTo>
                <a:lnTo>
                  <a:pt x="450" y="95"/>
                </a:lnTo>
                <a:lnTo>
                  <a:pt x="448" y="98"/>
                </a:lnTo>
                <a:lnTo>
                  <a:pt x="442" y="107"/>
                </a:lnTo>
                <a:lnTo>
                  <a:pt x="435" y="114"/>
                </a:lnTo>
                <a:lnTo>
                  <a:pt x="425" y="122"/>
                </a:lnTo>
                <a:lnTo>
                  <a:pt x="414" y="128"/>
                </a:lnTo>
                <a:lnTo>
                  <a:pt x="401" y="135"/>
                </a:lnTo>
                <a:lnTo>
                  <a:pt x="386" y="140"/>
                </a:lnTo>
                <a:lnTo>
                  <a:pt x="370" y="146"/>
                </a:lnTo>
                <a:lnTo>
                  <a:pt x="353" y="151"/>
                </a:lnTo>
                <a:lnTo>
                  <a:pt x="334" y="154"/>
                </a:lnTo>
                <a:lnTo>
                  <a:pt x="314" y="159"/>
                </a:lnTo>
                <a:lnTo>
                  <a:pt x="293" y="161"/>
                </a:lnTo>
                <a:lnTo>
                  <a:pt x="272" y="163"/>
                </a:lnTo>
                <a:lnTo>
                  <a:pt x="249" y="164"/>
                </a:lnTo>
                <a:lnTo>
                  <a:pt x="226" y="165"/>
                </a:lnTo>
                <a:lnTo>
                  <a:pt x="203" y="164"/>
                </a:lnTo>
                <a:lnTo>
                  <a:pt x="180" y="163"/>
                </a:lnTo>
                <a:lnTo>
                  <a:pt x="158" y="161"/>
                </a:lnTo>
                <a:lnTo>
                  <a:pt x="138" y="159"/>
                </a:lnTo>
                <a:lnTo>
                  <a:pt x="117" y="154"/>
                </a:lnTo>
                <a:lnTo>
                  <a:pt x="99" y="151"/>
                </a:lnTo>
                <a:lnTo>
                  <a:pt x="82" y="146"/>
                </a:lnTo>
                <a:lnTo>
                  <a:pt x="66" y="140"/>
                </a:lnTo>
                <a:lnTo>
                  <a:pt x="51" y="135"/>
                </a:lnTo>
                <a:lnTo>
                  <a:pt x="37" y="128"/>
                </a:lnTo>
                <a:lnTo>
                  <a:pt x="27" y="122"/>
                </a:lnTo>
                <a:lnTo>
                  <a:pt x="17" y="114"/>
                </a:lnTo>
                <a:lnTo>
                  <a:pt x="9" y="107"/>
                </a:lnTo>
                <a:lnTo>
                  <a:pt x="4" y="98"/>
                </a:lnTo>
                <a:lnTo>
                  <a:pt x="2" y="95"/>
                </a:lnTo>
                <a:lnTo>
                  <a:pt x="1" y="91"/>
                </a:lnTo>
                <a:lnTo>
                  <a:pt x="0" y="86"/>
                </a:lnTo>
                <a:lnTo>
                  <a:pt x="0" y="82"/>
                </a:lnTo>
                <a:lnTo>
                  <a:pt x="0" y="78"/>
                </a:lnTo>
                <a:lnTo>
                  <a:pt x="1" y="73"/>
                </a:lnTo>
                <a:lnTo>
                  <a:pt x="2" y="69"/>
                </a:lnTo>
                <a:lnTo>
                  <a:pt x="4" y="66"/>
                </a:lnTo>
                <a:lnTo>
                  <a:pt x="9" y="57"/>
                </a:lnTo>
                <a:lnTo>
                  <a:pt x="17" y="50"/>
                </a:lnTo>
                <a:lnTo>
                  <a:pt x="27" y="43"/>
                </a:lnTo>
                <a:lnTo>
                  <a:pt x="37" y="35"/>
                </a:lnTo>
                <a:lnTo>
                  <a:pt x="51" y="29"/>
                </a:lnTo>
                <a:lnTo>
                  <a:pt x="66" y="24"/>
                </a:lnTo>
                <a:lnTo>
                  <a:pt x="82" y="18"/>
                </a:lnTo>
                <a:lnTo>
                  <a:pt x="99" y="14"/>
                </a:lnTo>
                <a:lnTo>
                  <a:pt x="117" y="10"/>
                </a:lnTo>
                <a:lnTo>
                  <a:pt x="138" y="6"/>
                </a:lnTo>
                <a:lnTo>
                  <a:pt x="158" y="3"/>
                </a:lnTo>
                <a:lnTo>
                  <a:pt x="180" y="1"/>
                </a:lnTo>
                <a:lnTo>
                  <a:pt x="203" y="0"/>
                </a:lnTo>
                <a:lnTo>
                  <a:pt x="226" y="0"/>
                </a:lnTo>
                <a:close/>
              </a:path>
            </a:pathLst>
          </a:custGeom>
          <a:solidFill>
            <a:srgbClr val="227C1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8"/>
          <p:cNvSpPr>
            <a:spLocks noEditPoints="1"/>
          </p:cNvSpPr>
          <p:nvPr/>
        </p:nvSpPr>
        <p:spPr bwMode="auto">
          <a:xfrm>
            <a:off x="6878617" y="2323881"/>
            <a:ext cx="198963" cy="2136680"/>
          </a:xfrm>
          <a:custGeom>
            <a:avLst/>
            <a:gdLst>
              <a:gd name="T0" fmla="*/ 160 w 275"/>
              <a:gd name="T1" fmla="*/ 171 h 2964"/>
              <a:gd name="T2" fmla="*/ 0 w 275"/>
              <a:gd name="T3" fmla="*/ 195 h 2964"/>
              <a:gd name="T4" fmla="*/ 0 w 275"/>
              <a:gd name="T5" fmla="*/ 2340 h 2964"/>
              <a:gd name="T6" fmla="*/ 275 w 275"/>
              <a:gd name="T7" fmla="*/ 2363 h 2964"/>
              <a:gd name="T8" fmla="*/ 0 w 275"/>
              <a:gd name="T9" fmla="*/ 2340 h 2964"/>
              <a:gd name="T10" fmla="*/ 275 w 275"/>
              <a:gd name="T11" fmla="*/ 1560 h 2964"/>
              <a:gd name="T12" fmla="*/ 0 w 275"/>
              <a:gd name="T13" fmla="*/ 1584 h 2964"/>
              <a:gd name="T14" fmla="*/ 0 w 275"/>
              <a:gd name="T15" fmla="*/ 780 h 2964"/>
              <a:gd name="T16" fmla="*/ 275 w 275"/>
              <a:gd name="T17" fmla="*/ 805 h 2964"/>
              <a:gd name="T18" fmla="*/ 0 w 275"/>
              <a:gd name="T19" fmla="*/ 780 h 2964"/>
              <a:gd name="T20" fmla="*/ 160 w 275"/>
              <a:gd name="T21" fmla="*/ 2939 h 2964"/>
              <a:gd name="T22" fmla="*/ 0 w 275"/>
              <a:gd name="T23" fmla="*/ 2964 h 2964"/>
              <a:gd name="T24" fmla="*/ 0 w 275"/>
              <a:gd name="T25" fmla="*/ 2160 h 2964"/>
              <a:gd name="T26" fmla="*/ 160 w 275"/>
              <a:gd name="T27" fmla="*/ 2184 h 2964"/>
              <a:gd name="T28" fmla="*/ 0 w 275"/>
              <a:gd name="T29" fmla="*/ 2160 h 2964"/>
              <a:gd name="T30" fmla="*/ 160 w 275"/>
              <a:gd name="T31" fmla="*/ 1381 h 2964"/>
              <a:gd name="T32" fmla="*/ 0 w 275"/>
              <a:gd name="T33" fmla="*/ 1406 h 2964"/>
              <a:gd name="T34" fmla="*/ 0 w 275"/>
              <a:gd name="T35" fmla="*/ 2797 h 2964"/>
              <a:gd name="T36" fmla="*/ 160 w 275"/>
              <a:gd name="T37" fmla="*/ 2820 h 2964"/>
              <a:gd name="T38" fmla="*/ 0 w 275"/>
              <a:gd name="T39" fmla="*/ 2797 h 2964"/>
              <a:gd name="T40" fmla="*/ 160 w 275"/>
              <a:gd name="T41" fmla="*/ 2017 h 2964"/>
              <a:gd name="T42" fmla="*/ 0 w 275"/>
              <a:gd name="T43" fmla="*/ 2041 h 2964"/>
              <a:gd name="T44" fmla="*/ 0 w 275"/>
              <a:gd name="T45" fmla="*/ 1237 h 2964"/>
              <a:gd name="T46" fmla="*/ 160 w 275"/>
              <a:gd name="T47" fmla="*/ 1262 h 2964"/>
              <a:gd name="T48" fmla="*/ 0 w 275"/>
              <a:gd name="T49" fmla="*/ 1237 h 2964"/>
              <a:gd name="T50" fmla="*/ 160 w 275"/>
              <a:gd name="T51" fmla="*/ 2653 h 2964"/>
              <a:gd name="T52" fmla="*/ 0 w 275"/>
              <a:gd name="T53" fmla="*/ 2677 h 2964"/>
              <a:gd name="T54" fmla="*/ 0 w 275"/>
              <a:gd name="T55" fmla="*/ 1873 h 2964"/>
              <a:gd name="T56" fmla="*/ 160 w 275"/>
              <a:gd name="T57" fmla="*/ 1897 h 2964"/>
              <a:gd name="T58" fmla="*/ 0 w 275"/>
              <a:gd name="T59" fmla="*/ 1873 h 2964"/>
              <a:gd name="T60" fmla="*/ 160 w 275"/>
              <a:gd name="T61" fmla="*/ 1093 h 2964"/>
              <a:gd name="T62" fmla="*/ 0 w 275"/>
              <a:gd name="T63" fmla="*/ 1118 h 2964"/>
              <a:gd name="T64" fmla="*/ 0 w 275"/>
              <a:gd name="T65" fmla="*/ 2509 h 2964"/>
              <a:gd name="T66" fmla="*/ 160 w 275"/>
              <a:gd name="T67" fmla="*/ 2533 h 2964"/>
              <a:gd name="T68" fmla="*/ 0 w 275"/>
              <a:gd name="T69" fmla="*/ 2509 h 2964"/>
              <a:gd name="T70" fmla="*/ 160 w 275"/>
              <a:gd name="T71" fmla="*/ 1730 h 2964"/>
              <a:gd name="T72" fmla="*/ 0 w 275"/>
              <a:gd name="T73" fmla="*/ 1754 h 2964"/>
              <a:gd name="T74" fmla="*/ 0 w 275"/>
              <a:gd name="T75" fmla="*/ 950 h 2964"/>
              <a:gd name="T76" fmla="*/ 160 w 275"/>
              <a:gd name="T77" fmla="*/ 975 h 2964"/>
              <a:gd name="T78" fmla="*/ 0 w 275"/>
              <a:gd name="T79" fmla="*/ 950 h 2964"/>
              <a:gd name="T80" fmla="*/ 275 w 275"/>
              <a:gd name="T81" fmla="*/ 0 h 2964"/>
              <a:gd name="T82" fmla="*/ 0 w 275"/>
              <a:gd name="T83" fmla="*/ 25 h 2964"/>
              <a:gd name="T84" fmla="*/ 0 w 275"/>
              <a:gd name="T85" fmla="*/ 601 h 2964"/>
              <a:gd name="T86" fmla="*/ 160 w 275"/>
              <a:gd name="T87" fmla="*/ 626 h 2964"/>
              <a:gd name="T88" fmla="*/ 0 w 275"/>
              <a:gd name="T89" fmla="*/ 601 h 2964"/>
              <a:gd name="T90" fmla="*/ 160 w 275"/>
              <a:gd name="T91" fmla="*/ 458 h 2964"/>
              <a:gd name="T92" fmla="*/ 0 w 275"/>
              <a:gd name="T93" fmla="*/ 482 h 2964"/>
              <a:gd name="T94" fmla="*/ 0 w 275"/>
              <a:gd name="T95" fmla="*/ 315 h 2964"/>
              <a:gd name="T96" fmla="*/ 160 w 275"/>
              <a:gd name="T97" fmla="*/ 338 h 2964"/>
              <a:gd name="T98" fmla="*/ 0 w 275"/>
              <a:gd name="T99" fmla="*/ 315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5" h="2964">
                <a:moveTo>
                  <a:pt x="0" y="171"/>
                </a:moveTo>
                <a:lnTo>
                  <a:pt x="160" y="171"/>
                </a:lnTo>
                <a:lnTo>
                  <a:pt x="160" y="195"/>
                </a:lnTo>
                <a:lnTo>
                  <a:pt x="0" y="195"/>
                </a:lnTo>
                <a:lnTo>
                  <a:pt x="0" y="171"/>
                </a:lnTo>
                <a:close/>
                <a:moveTo>
                  <a:pt x="0" y="2340"/>
                </a:moveTo>
                <a:lnTo>
                  <a:pt x="275" y="2340"/>
                </a:lnTo>
                <a:lnTo>
                  <a:pt x="275" y="2363"/>
                </a:lnTo>
                <a:lnTo>
                  <a:pt x="0" y="2363"/>
                </a:lnTo>
                <a:lnTo>
                  <a:pt x="0" y="2340"/>
                </a:lnTo>
                <a:close/>
                <a:moveTo>
                  <a:pt x="0" y="1560"/>
                </a:moveTo>
                <a:lnTo>
                  <a:pt x="275" y="1560"/>
                </a:lnTo>
                <a:lnTo>
                  <a:pt x="275" y="1584"/>
                </a:lnTo>
                <a:lnTo>
                  <a:pt x="0" y="1584"/>
                </a:lnTo>
                <a:lnTo>
                  <a:pt x="0" y="1560"/>
                </a:lnTo>
                <a:close/>
                <a:moveTo>
                  <a:pt x="0" y="780"/>
                </a:moveTo>
                <a:lnTo>
                  <a:pt x="275" y="780"/>
                </a:lnTo>
                <a:lnTo>
                  <a:pt x="275" y="805"/>
                </a:lnTo>
                <a:lnTo>
                  <a:pt x="0" y="805"/>
                </a:lnTo>
                <a:lnTo>
                  <a:pt x="0" y="780"/>
                </a:lnTo>
                <a:close/>
                <a:moveTo>
                  <a:pt x="0" y="2939"/>
                </a:moveTo>
                <a:lnTo>
                  <a:pt x="160" y="2939"/>
                </a:lnTo>
                <a:lnTo>
                  <a:pt x="160" y="2964"/>
                </a:lnTo>
                <a:lnTo>
                  <a:pt x="0" y="2964"/>
                </a:lnTo>
                <a:lnTo>
                  <a:pt x="0" y="2939"/>
                </a:lnTo>
                <a:close/>
                <a:moveTo>
                  <a:pt x="0" y="2160"/>
                </a:moveTo>
                <a:lnTo>
                  <a:pt x="160" y="2160"/>
                </a:lnTo>
                <a:lnTo>
                  <a:pt x="160" y="2184"/>
                </a:lnTo>
                <a:lnTo>
                  <a:pt x="0" y="2184"/>
                </a:lnTo>
                <a:lnTo>
                  <a:pt x="0" y="2160"/>
                </a:lnTo>
                <a:close/>
                <a:moveTo>
                  <a:pt x="0" y="1381"/>
                </a:moveTo>
                <a:lnTo>
                  <a:pt x="160" y="1381"/>
                </a:lnTo>
                <a:lnTo>
                  <a:pt x="160" y="1406"/>
                </a:lnTo>
                <a:lnTo>
                  <a:pt x="0" y="1406"/>
                </a:lnTo>
                <a:lnTo>
                  <a:pt x="0" y="1381"/>
                </a:lnTo>
                <a:close/>
                <a:moveTo>
                  <a:pt x="0" y="2797"/>
                </a:moveTo>
                <a:lnTo>
                  <a:pt x="160" y="2797"/>
                </a:lnTo>
                <a:lnTo>
                  <a:pt x="160" y="2820"/>
                </a:lnTo>
                <a:lnTo>
                  <a:pt x="0" y="2820"/>
                </a:lnTo>
                <a:lnTo>
                  <a:pt x="0" y="2797"/>
                </a:lnTo>
                <a:close/>
                <a:moveTo>
                  <a:pt x="0" y="2017"/>
                </a:moveTo>
                <a:lnTo>
                  <a:pt x="160" y="2017"/>
                </a:lnTo>
                <a:lnTo>
                  <a:pt x="160" y="2041"/>
                </a:lnTo>
                <a:lnTo>
                  <a:pt x="0" y="2041"/>
                </a:lnTo>
                <a:lnTo>
                  <a:pt x="0" y="2017"/>
                </a:lnTo>
                <a:close/>
                <a:moveTo>
                  <a:pt x="0" y="1237"/>
                </a:moveTo>
                <a:lnTo>
                  <a:pt x="160" y="1237"/>
                </a:lnTo>
                <a:lnTo>
                  <a:pt x="160" y="1262"/>
                </a:lnTo>
                <a:lnTo>
                  <a:pt x="0" y="1262"/>
                </a:lnTo>
                <a:lnTo>
                  <a:pt x="0" y="1237"/>
                </a:lnTo>
                <a:close/>
                <a:moveTo>
                  <a:pt x="0" y="2653"/>
                </a:moveTo>
                <a:lnTo>
                  <a:pt x="160" y="2653"/>
                </a:lnTo>
                <a:lnTo>
                  <a:pt x="160" y="2677"/>
                </a:lnTo>
                <a:lnTo>
                  <a:pt x="0" y="2677"/>
                </a:lnTo>
                <a:lnTo>
                  <a:pt x="0" y="2653"/>
                </a:lnTo>
                <a:close/>
                <a:moveTo>
                  <a:pt x="0" y="1873"/>
                </a:moveTo>
                <a:lnTo>
                  <a:pt x="160" y="1873"/>
                </a:lnTo>
                <a:lnTo>
                  <a:pt x="160" y="1897"/>
                </a:lnTo>
                <a:lnTo>
                  <a:pt x="0" y="1897"/>
                </a:lnTo>
                <a:lnTo>
                  <a:pt x="0" y="1873"/>
                </a:lnTo>
                <a:close/>
                <a:moveTo>
                  <a:pt x="0" y="1093"/>
                </a:moveTo>
                <a:lnTo>
                  <a:pt x="160" y="1093"/>
                </a:lnTo>
                <a:lnTo>
                  <a:pt x="160" y="1118"/>
                </a:lnTo>
                <a:lnTo>
                  <a:pt x="0" y="1118"/>
                </a:lnTo>
                <a:lnTo>
                  <a:pt x="0" y="1093"/>
                </a:lnTo>
                <a:close/>
                <a:moveTo>
                  <a:pt x="0" y="2509"/>
                </a:moveTo>
                <a:lnTo>
                  <a:pt x="160" y="2509"/>
                </a:lnTo>
                <a:lnTo>
                  <a:pt x="160" y="2533"/>
                </a:lnTo>
                <a:lnTo>
                  <a:pt x="0" y="2533"/>
                </a:lnTo>
                <a:lnTo>
                  <a:pt x="0" y="2509"/>
                </a:lnTo>
                <a:close/>
                <a:moveTo>
                  <a:pt x="0" y="1730"/>
                </a:moveTo>
                <a:lnTo>
                  <a:pt x="160" y="1730"/>
                </a:lnTo>
                <a:lnTo>
                  <a:pt x="160" y="1754"/>
                </a:lnTo>
                <a:lnTo>
                  <a:pt x="0" y="1754"/>
                </a:lnTo>
                <a:lnTo>
                  <a:pt x="0" y="1730"/>
                </a:lnTo>
                <a:close/>
                <a:moveTo>
                  <a:pt x="0" y="950"/>
                </a:moveTo>
                <a:lnTo>
                  <a:pt x="160" y="950"/>
                </a:lnTo>
                <a:lnTo>
                  <a:pt x="160" y="975"/>
                </a:lnTo>
                <a:lnTo>
                  <a:pt x="0" y="975"/>
                </a:lnTo>
                <a:lnTo>
                  <a:pt x="0" y="950"/>
                </a:lnTo>
                <a:close/>
                <a:moveTo>
                  <a:pt x="0" y="0"/>
                </a:moveTo>
                <a:lnTo>
                  <a:pt x="275" y="0"/>
                </a:lnTo>
                <a:lnTo>
                  <a:pt x="275" y="25"/>
                </a:lnTo>
                <a:lnTo>
                  <a:pt x="0" y="25"/>
                </a:lnTo>
                <a:lnTo>
                  <a:pt x="0" y="0"/>
                </a:lnTo>
                <a:close/>
                <a:moveTo>
                  <a:pt x="0" y="601"/>
                </a:moveTo>
                <a:lnTo>
                  <a:pt x="160" y="601"/>
                </a:lnTo>
                <a:lnTo>
                  <a:pt x="160" y="626"/>
                </a:lnTo>
                <a:lnTo>
                  <a:pt x="0" y="626"/>
                </a:lnTo>
                <a:lnTo>
                  <a:pt x="0" y="601"/>
                </a:lnTo>
                <a:close/>
                <a:moveTo>
                  <a:pt x="0" y="458"/>
                </a:moveTo>
                <a:lnTo>
                  <a:pt x="160" y="458"/>
                </a:lnTo>
                <a:lnTo>
                  <a:pt x="160" y="482"/>
                </a:lnTo>
                <a:lnTo>
                  <a:pt x="0" y="482"/>
                </a:lnTo>
                <a:lnTo>
                  <a:pt x="0" y="458"/>
                </a:lnTo>
                <a:close/>
                <a:moveTo>
                  <a:pt x="0" y="315"/>
                </a:moveTo>
                <a:lnTo>
                  <a:pt x="160" y="315"/>
                </a:lnTo>
                <a:lnTo>
                  <a:pt x="160" y="338"/>
                </a:lnTo>
                <a:lnTo>
                  <a:pt x="0" y="338"/>
                </a:lnTo>
                <a:lnTo>
                  <a:pt x="0" y="315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15"/>
          <p:cNvSpPr>
            <a:spLocks/>
          </p:cNvSpPr>
          <p:nvPr/>
        </p:nvSpPr>
        <p:spPr bwMode="auto">
          <a:xfrm>
            <a:off x="4937331" y="1868286"/>
            <a:ext cx="876588" cy="3486162"/>
          </a:xfrm>
          <a:custGeom>
            <a:avLst/>
            <a:gdLst>
              <a:gd name="T0" fmla="*/ 665 w 1214"/>
              <a:gd name="T1" fmla="*/ 5 h 4837"/>
              <a:gd name="T2" fmla="*/ 728 w 1214"/>
              <a:gd name="T3" fmla="*/ 21 h 4837"/>
              <a:gd name="T4" fmla="*/ 786 w 1214"/>
              <a:gd name="T5" fmla="*/ 49 h 4837"/>
              <a:gd name="T6" fmla="*/ 837 w 1214"/>
              <a:gd name="T7" fmla="*/ 87 h 4837"/>
              <a:gd name="T8" fmla="*/ 879 w 1214"/>
              <a:gd name="T9" fmla="*/ 133 h 4837"/>
              <a:gd name="T10" fmla="*/ 912 w 1214"/>
              <a:gd name="T11" fmla="*/ 188 h 4837"/>
              <a:gd name="T12" fmla="*/ 935 w 1214"/>
              <a:gd name="T13" fmla="*/ 249 h 4837"/>
              <a:gd name="T14" fmla="*/ 945 w 1214"/>
              <a:gd name="T15" fmla="*/ 315 h 4837"/>
              <a:gd name="T16" fmla="*/ 975 w 1214"/>
              <a:gd name="T17" fmla="*/ 3747 h 4837"/>
              <a:gd name="T18" fmla="*/ 1030 w 1214"/>
              <a:gd name="T19" fmla="*/ 3794 h 4837"/>
              <a:gd name="T20" fmla="*/ 1080 w 1214"/>
              <a:gd name="T21" fmla="*/ 3848 h 4837"/>
              <a:gd name="T22" fmla="*/ 1122 w 1214"/>
              <a:gd name="T23" fmla="*/ 3908 h 4837"/>
              <a:gd name="T24" fmla="*/ 1157 w 1214"/>
              <a:gd name="T25" fmla="*/ 3973 h 4837"/>
              <a:gd name="T26" fmla="*/ 1184 w 1214"/>
              <a:gd name="T27" fmla="*/ 4042 h 4837"/>
              <a:gd name="T28" fmla="*/ 1203 w 1214"/>
              <a:gd name="T29" fmla="*/ 4114 h 4837"/>
              <a:gd name="T30" fmla="*/ 1213 w 1214"/>
              <a:gd name="T31" fmla="*/ 4191 h 4837"/>
              <a:gd name="T32" fmla="*/ 1210 w 1214"/>
              <a:gd name="T33" fmla="*/ 4292 h 4837"/>
              <a:gd name="T34" fmla="*/ 1187 w 1214"/>
              <a:gd name="T35" fmla="*/ 4410 h 4837"/>
              <a:gd name="T36" fmla="*/ 1140 w 1214"/>
              <a:gd name="T37" fmla="*/ 4519 h 4837"/>
              <a:gd name="T38" fmla="*/ 1075 w 1214"/>
              <a:gd name="T39" fmla="*/ 4616 h 4837"/>
              <a:gd name="T40" fmla="*/ 993 w 1214"/>
              <a:gd name="T41" fmla="*/ 4698 h 4837"/>
              <a:gd name="T42" fmla="*/ 896 w 1214"/>
              <a:gd name="T43" fmla="*/ 4764 h 4837"/>
              <a:gd name="T44" fmla="*/ 787 w 1214"/>
              <a:gd name="T45" fmla="*/ 4810 h 4837"/>
              <a:gd name="T46" fmla="*/ 668 w 1214"/>
              <a:gd name="T47" fmla="*/ 4834 h 4837"/>
              <a:gd name="T48" fmla="*/ 544 w 1214"/>
              <a:gd name="T49" fmla="*/ 4834 h 4837"/>
              <a:gd name="T50" fmla="*/ 426 w 1214"/>
              <a:gd name="T51" fmla="*/ 4810 h 4837"/>
              <a:gd name="T52" fmla="*/ 317 w 1214"/>
              <a:gd name="T53" fmla="*/ 4764 h 4837"/>
              <a:gd name="T54" fmla="*/ 220 w 1214"/>
              <a:gd name="T55" fmla="*/ 4698 h 4837"/>
              <a:gd name="T56" fmla="*/ 138 w 1214"/>
              <a:gd name="T57" fmla="*/ 4616 h 4837"/>
              <a:gd name="T58" fmla="*/ 72 w 1214"/>
              <a:gd name="T59" fmla="*/ 4519 h 4837"/>
              <a:gd name="T60" fmla="*/ 27 w 1214"/>
              <a:gd name="T61" fmla="*/ 4410 h 4837"/>
              <a:gd name="T62" fmla="*/ 2 w 1214"/>
              <a:gd name="T63" fmla="*/ 4292 h 4837"/>
              <a:gd name="T64" fmla="*/ 1 w 1214"/>
              <a:gd name="T65" fmla="*/ 4190 h 4837"/>
              <a:gd name="T66" fmla="*/ 11 w 1214"/>
              <a:gd name="T67" fmla="*/ 4111 h 4837"/>
              <a:gd name="T68" fmla="*/ 31 w 1214"/>
              <a:gd name="T69" fmla="*/ 4036 h 4837"/>
              <a:gd name="T70" fmla="*/ 60 w 1214"/>
              <a:gd name="T71" fmla="*/ 3965 h 4837"/>
              <a:gd name="T72" fmla="*/ 97 w 1214"/>
              <a:gd name="T73" fmla="*/ 3899 h 4837"/>
              <a:gd name="T74" fmla="*/ 142 w 1214"/>
              <a:gd name="T75" fmla="*/ 3839 h 4837"/>
              <a:gd name="T76" fmla="*/ 194 w 1214"/>
              <a:gd name="T77" fmla="*/ 3784 h 4837"/>
              <a:gd name="T78" fmla="*/ 252 w 1214"/>
              <a:gd name="T79" fmla="*/ 3736 h 4837"/>
              <a:gd name="T80" fmla="*/ 285 w 1214"/>
              <a:gd name="T81" fmla="*/ 315 h 4837"/>
              <a:gd name="T82" fmla="*/ 295 w 1214"/>
              <a:gd name="T83" fmla="*/ 249 h 4837"/>
              <a:gd name="T84" fmla="*/ 316 w 1214"/>
              <a:gd name="T85" fmla="*/ 188 h 4837"/>
              <a:gd name="T86" fmla="*/ 350 w 1214"/>
              <a:gd name="T87" fmla="*/ 133 h 4837"/>
              <a:gd name="T88" fmla="*/ 393 w 1214"/>
              <a:gd name="T89" fmla="*/ 87 h 4837"/>
              <a:gd name="T90" fmla="*/ 444 w 1214"/>
              <a:gd name="T91" fmla="*/ 49 h 4837"/>
              <a:gd name="T92" fmla="*/ 501 w 1214"/>
              <a:gd name="T93" fmla="*/ 21 h 4837"/>
              <a:gd name="T94" fmla="*/ 565 w 1214"/>
              <a:gd name="T95" fmla="*/ 5 h 4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4" h="4837">
                <a:moveTo>
                  <a:pt x="614" y="0"/>
                </a:moveTo>
                <a:lnTo>
                  <a:pt x="632" y="1"/>
                </a:lnTo>
                <a:lnTo>
                  <a:pt x="648" y="3"/>
                </a:lnTo>
                <a:lnTo>
                  <a:pt x="665" y="5"/>
                </a:lnTo>
                <a:lnTo>
                  <a:pt x="681" y="7"/>
                </a:lnTo>
                <a:lnTo>
                  <a:pt x="696" y="11"/>
                </a:lnTo>
                <a:lnTo>
                  <a:pt x="713" y="16"/>
                </a:lnTo>
                <a:lnTo>
                  <a:pt x="728" y="21"/>
                </a:lnTo>
                <a:lnTo>
                  <a:pt x="743" y="26"/>
                </a:lnTo>
                <a:lnTo>
                  <a:pt x="758" y="34"/>
                </a:lnTo>
                <a:lnTo>
                  <a:pt x="772" y="40"/>
                </a:lnTo>
                <a:lnTo>
                  <a:pt x="786" y="49"/>
                </a:lnTo>
                <a:lnTo>
                  <a:pt x="799" y="58"/>
                </a:lnTo>
                <a:lnTo>
                  <a:pt x="812" y="66"/>
                </a:lnTo>
                <a:lnTo>
                  <a:pt x="825" y="76"/>
                </a:lnTo>
                <a:lnTo>
                  <a:pt x="837" y="87"/>
                </a:lnTo>
                <a:lnTo>
                  <a:pt x="847" y="98"/>
                </a:lnTo>
                <a:lnTo>
                  <a:pt x="859" y="109"/>
                </a:lnTo>
                <a:lnTo>
                  <a:pt x="869" y="121"/>
                </a:lnTo>
                <a:lnTo>
                  <a:pt x="879" y="133"/>
                </a:lnTo>
                <a:lnTo>
                  <a:pt x="889" y="146"/>
                </a:lnTo>
                <a:lnTo>
                  <a:pt x="897" y="160"/>
                </a:lnTo>
                <a:lnTo>
                  <a:pt x="905" y="174"/>
                </a:lnTo>
                <a:lnTo>
                  <a:pt x="912" y="188"/>
                </a:lnTo>
                <a:lnTo>
                  <a:pt x="919" y="202"/>
                </a:lnTo>
                <a:lnTo>
                  <a:pt x="925" y="217"/>
                </a:lnTo>
                <a:lnTo>
                  <a:pt x="930" y="234"/>
                </a:lnTo>
                <a:lnTo>
                  <a:pt x="935" y="249"/>
                </a:lnTo>
                <a:lnTo>
                  <a:pt x="938" y="265"/>
                </a:lnTo>
                <a:lnTo>
                  <a:pt x="941" y="281"/>
                </a:lnTo>
                <a:lnTo>
                  <a:pt x="944" y="297"/>
                </a:lnTo>
                <a:lnTo>
                  <a:pt x="945" y="315"/>
                </a:lnTo>
                <a:lnTo>
                  <a:pt x="945" y="331"/>
                </a:lnTo>
                <a:lnTo>
                  <a:pt x="945" y="3725"/>
                </a:lnTo>
                <a:lnTo>
                  <a:pt x="960" y="3736"/>
                </a:lnTo>
                <a:lnTo>
                  <a:pt x="975" y="3747"/>
                </a:lnTo>
                <a:lnTo>
                  <a:pt x="989" y="3758"/>
                </a:lnTo>
                <a:lnTo>
                  <a:pt x="1003" y="3770"/>
                </a:lnTo>
                <a:lnTo>
                  <a:pt x="1017" y="3781"/>
                </a:lnTo>
                <a:lnTo>
                  <a:pt x="1030" y="3794"/>
                </a:lnTo>
                <a:lnTo>
                  <a:pt x="1043" y="3807"/>
                </a:lnTo>
                <a:lnTo>
                  <a:pt x="1056" y="3820"/>
                </a:lnTo>
                <a:lnTo>
                  <a:pt x="1068" y="3834"/>
                </a:lnTo>
                <a:lnTo>
                  <a:pt x="1080" y="3848"/>
                </a:lnTo>
                <a:lnTo>
                  <a:pt x="1090" y="3862"/>
                </a:lnTo>
                <a:lnTo>
                  <a:pt x="1101" y="3878"/>
                </a:lnTo>
                <a:lnTo>
                  <a:pt x="1112" y="3893"/>
                </a:lnTo>
                <a:lnTo>
                  <a:pt x="1122" y="3908"/>
                </a:lnTo>
                <a:lnTo>
                  <a:pt x="1132" y="3923"/>
                </a:lnTo>
                <a:lnTo>
                  <a:pt x="1140" y="3939"/>
                </a:lnTo>
                <a:lnTo>
                  <a:pt x="1149" y="3955"/>
                </a:lnTo>
                <a:lnTo>
                  <a:pt x="1157" y="3973"/>
                </a:lnTo>
                <a:lnTo>
                  <a:pt x="1165" y="3989"/>
                </a:lnTo>
                <a:lnTo>
                  <a:pt x="1171" y="4006"/>
                </a:lnTo>
                <a:lnTo>
                  <a:pt x="1178" y="4023"/>
                </a:lnTo>
                <a:lnTo>
                  <a:pt x="1184" y="4042"/>
                </a:lnTo>
                <a:lnTo>
                  <a:pt x="1190" y="4059"/>
                </a:lnTo>
                <a:lnTo>
                  <a:pt x="1195" y="4077"/>
                </a:lnTo>
                <a:lnTo>
                  <a:pt x="1200" y="4096"/>
                </a:lnTo>
                <a:lnTo>
                  <a:pt x="1203" y="4114"/>
                </a:lnTo>
                <a:lnTo>
                  <a:pt x="1206" y="4134"/>
                </a:lnTo>
                <a:lnTo>
                  <a:pt x="1209" y="4152"/>
                </a:lnTo>
                <a:lnTo>
                  <a:pt x="1211" y="4171"/>
                </a:lnTo>
                <a:lnTo>
                  <a:pt x="1213" y="4191"/>
                </a:lnTo>
                <a:lnTo>
                  <a:pt x="1214" y="4210"/>
                </a:lnTo>
                <a:lnTo>
                  <a:pt x="1214" y="4230"/>
                </a:lnTo>
                <a:lnTo>
                  <a:pt x="1214" y="4261"/>
                </a:lnTo>
                <a:lnTo>
                  <a:pt x="1210" y="4292"/>
                </a:lnTo>
                <a:lnTo>
                  <a:pt x="1207" y="4323"/>
                </a:lnTo>
                <a:lnTo>
                  <a:pt x="1202" y="4352"/>
                </a:lnTo>
                <a:lnTo>
                  <a:pt x="1195" y="4382"/>
                </a:lnTo>
                <a:lnTo>
                  <a:pt x="1187" y="4410"/>
                </a:lnTo>
                <a:lnTo>
                  <a:pt x="1177" y="4438"/>
                </a:lnTo>
                <a:lnTo>
                  <a:pt x="1166" y="4466"/>
                </a:lnTo>
                <a:lnTo>
                  <a:pt x="1154" y="4493"/>
                </a:lnTo>
                <a:lnTo>
                  <a:pt x="1140" y="4519"/>
                </a:lnTo>
                <a:lnTo>
                  <a:pt x="1126" y="4545"/>
                </a:lnTo>
                <a:lnTo>
                  <a:pt x="1110" y="4569"/>
                </a:lnTo>
                <a:lnTo>
                  <a:pt x="1094" y="4594"/>
                </a:lnTo>
                <a:lnTo>
                  <a:pt x="1075" y="4616"/>
                </a:lnTo>
                <a:lnTo>
                  <a:pt x="1056" y="4638"/>
                </a:lnTo>
                <a:lnTo>
                  <a:pt x="1036" y="4660"/>
                </a:lnTo>
                <a:lnTo>
                  <a:pt x="1015" y="4679"/>
                </a:lnTo>
                <a:lnTo>
                  <a:pt x="993" y="4698"/>
                </a:lnTo>
                <a:lnTo>
                  <a:pt x="970" y="4717"/>
                </a:lnTo>
                <a:lnTo>
                  <a:pt x="946" y="4733"/>
                </a:lnTo>
                <a:lnTo>
                  <a:pt x="922" y="4749"/>
                </a:lnTo>
                <a:lnTo>
                  <a:pt x="896" y="4764"/>
                </a:lnTo>
                <a:lnTo>
                  <a:pt x="870" y="4777"/>
                </a:lnTo>
                <a:lnTo>
                  <a:pt x="843" y="4789"/>
                </a:lnTo>
                <a:lnTo>
                  <a:pt x="815" y="4800"/>
                </a:lnTo>
                <a:lnTo>
                  <a:pt x="787" y="4810"/>
                </a:lnTo>
                <a:lnTo>
                  <a:pt x="758" y="4818"/>
                </a:lnTo>
                <a:lnTo>
                  <a:pt x="729" y="4825"/>
                </a:lnTo>
                <a:lnTo>
                  <a:pt x="700" y="4830"/>
                </a:lnTo>
                <a:lnTo>
                  <a:pt x="668" y="4834"/>
                </a:lnTo>
                <a:lnTo>
                  <a:pt x="638" y="4837"/>
                </a:lnTo>
                <a:lnTo>
                  <a:pt x="607" y="4837"/>
                </a:lnTo>
                <a:lnTo>
                  <a:pt x="575" y="4837"/>
                </a:lnTo>
                <a:lnTo>
                  <a:pt x="544" y="4834"/>
                </a:lnTo>
                <a:lnTo>
                  <a:pt x="514" y="4830"/>
                </a:lnTo>
                <a:lnTo>
                  <a:pt x="485" y="4825"/>
                </a:lnTo>
                <a:lnTo>
                  <a:pt x="454" y="4818"/>
                </a:lnTo>
                <a:lnTo>
                  <a:pt x="426" y="4810"/>
                </a:lnTo>
                <a:lnTo>
                  <a:pt x="398" y="4800"/>
                </a:lnTo>
                <a:lnTo>
                  <a:pt x="370" y="4789"/>
                </a:lnTo>
                <a:lnTo>
                  <a:pt x="343" y="4777"/>
                </a:lnTo>
                <a:lnTo>
                  <a:pt x="317" y="4764"/>
                </a:lnTo>
                <a:lnTo>
                  <a:pt x="291" y="4749"/>
                </a:lnTo>
                <a:lnTo>
                  <a:pt x="267" y="4733"/>
                </a:lnTo>
                <a:lnTo>
                  <a:pt x="243" y="4717"/>
                </a:lnTo>
                <a:lnTo>
                  <a:pt x="220" y="4698"/>
                </a:lnTo>
                <a:lnTo>
                  <a:pt x="198" y="4679"/>
                </a:lnTo>
                <a:lnTo>
                  <a:pt x="177" y="4660"/>
                </a:lnTo>
                <a:lnTo>
                  <a:pt x="157" y="4638"/>
                </a:lnTo>
                <a:lnTo>
                  <a:pt x="138" y="4616"/>
                </a:lnTo>
                <a:lnTo>
                  <a:pt x="120" y="4594"/>
                </a:lnTo>
                <a:lnTo>
                  <a:pt x="103" y="4569"/>
                </a:lnTo>
                <a:lnTo>
                  <a:pt x="87" y="4545"/>
                </a:lnTo>
                <a:lnTo>
                  <a:pt x="72" y="4519"/>
                </a:lnTo>
                <a:lnTo>
                  <a:pt x="59" y="4493"/>
                </a:lnTo>
                <a:lnTo>
                  <a:pt x="47" y="4466"/>
                </a:lnTo>
                <a:lnTo>
                  <a:pt x="36" y="4438"/>
                </a:lnTo>
                <a:lnTo>
                  <a:pt x="27" y="4410"/>
                </a:lnTo>
                <a:lnTo>
                  <a:pt x="18" y="4382"/>
                </a:lnTo>
                <a:lnTo>
                  <a:pt x="12" y="4352"/>
                </a:lnTo>
                <a:lnTo>
                  <a:pt x="6" y="4323"/>
                </a:lnTo>
                <a:lnTo>
                  <a:pt x="2" y="4292"/>
                </a:lnTo>
                <a:lnTo>
                  <a:pt x="0" y="4261"/>
                </a:lnTo>
                <a:lnTo>
                  <a:pt x="0" y="4230"/>
                </a:lnTo>
                <a:lnTo>
                  <a:pt x="0" y="4209"/>
                </a:lnTo>
                <a:lnTo>
                  <a:pt x="1" y="4190"/>
                </a:lnTo>
                <a:lnTo>
                  <a:pt x="2" y="4169"/>
                </a:lnTo>
                <a:lnTo>
                  <a:pt x="4" y="4150"/>
                </a:lnTo>
                <a:lnTo>
                  <a:pt x="7" y="4130"/>
                </a:lnTo>
                <a:lnTo>
                  <a:pt x="11" y="4111"/>
                </a:lnTo>
                <a:lnTo>
                  <a:pt x="15" y="4091"/>
                </a:lnTo>
                <a:lnTo>
                  <a:pt x="19" y="4073"/>
                </a:lnTo>
                <a:lnTo>
                  <a:pt x="25" y="4055"/>
                </a:lnTo>
                <a:lnTo>
                  <a:pt x="31" y="4036"/>
                </a:lnTo>
                <a:lnTo>
                  <a:pt x="38" y="4018"/>
                </a:lnTo>
                <a:lnTo>
                  <a:pt x="44" y="4000"/>
                </a:lnTo>
                <a:lnTo>
                  <a:pt x="52" y="3982"/>
                </a:lnTo>
                <a:lnTo>
                  <a:pt x="60" y="3965"/>
                </a:lnTo>
                <a:lnTo>
                  <a:pt x="69" y="3948"/>
                </a:lnTo>
                <a:lnTo>
                  <a:pt x="78" y="3932"/>
                </a:lnTo>
                <a:lnTo>
                  <a:pt x="87" y="3915"/>
                </a:lnTo>
                <a:lnTo>
                  <a:pt x="97" y="3899"/>
                </a:lnTo>
                <a:lnTo>
                  <a:pt x="108" y="3883"/>
                </a:lnTo>
                <a:lnTo>
                  <a:pt x="119" y="3868"/>
                </a:lnTo>
                <a:lnTo>
                  <a:pt x="130" y="3853"/>
                </a:lnTo>
                <a:lnTo>
                  <a:pt x="142" y="3839"/>
                </a:lnTo>
                <a:lnTo>
                  <a:pt x="154" y="3824"/>
                </a:lnTo>
                <a:lnTo>
                  <a:pt x="167" y="3811"/>
                </a:lnTo>
                <a:lnTo>
                  <a:pt x="180" y="3797"/>
                </a:lnTo>
                <a:lnTo>
                  <a:pt x="194" y="3784"/>
                </a:lnTo>
                <a:lnTo>
                  <a:pt x="208" y="3772"/>
                </a:lnTo>
                <a:lnTo>
                  <a:pt x="222" y="3759"/>
                </a:lnTo>
                <a:lnTo>
                  <a:pt x="237" y="3747"/>
                </a:lnTo>
                <a:lnTo>
                  <a:pt x="252" y="3736"/>
                </a:lnTo>
                <a:lnTo>
                  <a:pt x="268" y="3725"/>
                </a:lnTo>
                <a:lnTo>
                  <a:pt x="284" y="3715"/>
                </a:lnTo>
                <a:lnTo>
                  <a:pt x="284" y="331"/>
                </a:lnTo>
                <a:lnTo>
                  <a:pt x="285" y="315"/>
                </a:lnTo>
                <a:lnTo>
                  <a:pt x="286" y="297"/>
                </a:lnTo>
                <a:lnTo>
                  <a:pt x="288" y="281"/>
                </a:lnTo>
                <a:lnTo>
                  <a:pt x="290" y="265"/>
                </a:lnTo>
                <a:lnTo>
                  <a:pt x="295" y="249"/>
                </a:lnTo>
                <a:lnTo>
                  <a:pt x="299" y="234"/>
                </a:lnTo>
                <a:lnTo>
                  <a:pt x="304" y="217"/>
                </a:lnTo>
                <a:lnTo>
                  <a:pt x="310" y="202"/>
                </a:lnTo>
                <a:lnTo>
                  <a:pt x="316" y="188"/>
                </a:lnTo>
                <a:lnTo>
                  <a:pt x="324" y="174"/>
                </a:lnTo>
                <a:lnTo>
                  <a:pt x="332" y="160"/>
                </a:lnTo>
                <a:lnTo>
                  <a:pt x="341" y="146"/>
                </a:lnTo>
                <a:lnTo>
                  <a:pt x="350" y="133"/>
                </a:lnTo>
                <a:lnTo>
                  <a:pt x="359" y="121"/>
                </a:lnTo>
                <a:lnTo>
                  <a:pt x="370" y="109"/>
                </a:lnTo>
                <a:lnTo>
                  <a:pt x="381" y="98"/>
                </a:lnTo>
                <a:lnTo>
                  <a:pt x="393" y="87"/>
                </a:lnTo>
                <a:lnTo>
                  <a:pt x="405" y="76"/>
                </a:lnTo>
                <a:lnTo>
                  <a:pt x="417" y="66"/>
                </a:lnTo>
                <a:lnTo>
                  <a:pt x="430" y="58"/>
                </a:lnTo>
                <a:lnTo>
                  <a:pt x="444" y="49"/>
                </a:lnTo>
                <a:lnTo>
                  <a:pt x="458" y="40"/>
                </a:lnTo>
                <a:lnTo>
                  <a:pt x="472" y="34"/>
                </a:lnTo>
                <a:lnTo>
                  <a:pt x="486" y="26"/>
                </a:lnTo>
                <a:lnTo>
                  <a:pt x="501" y="21"/>
                </a:lnTo>
                <a:lnTo>
                  <a:pt x="516" y="16"/>
                </a:lnTo>
                <a:lnTo>
                  <a:pt x="532" y="11"/>
                </a:lnTo>
                <a:lnTo>
                  <a:pt x="548" y="7"/>
                </a:lnTo>
                <a:lnTo>
                  <a:pt x="565" y="5"/>
                </a:lnTo>
                <a:lnTo>
                  <a:pt x="581" y="3"/>
                </a:lnTo>
                <a:lnTo>
                  <a:pt x="598" y="1"/>
                </a:lnTo>
                <a:lnTo>
                  <a:pt x="6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5015186" y="4569155"/>
            <a:ext cx="715111" cy="715111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208381" y="3000318"/>
            <a:ext cx="328721" cy="1716024"/>
          </a:xfrm>
          <a:prstGeom prst="rect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 17"/>
          <p:cNvSpPr>
            <a:spLocks/>
          </p:cNvSpPr>
          <p:nvPr/>
        </p:nvSpPr>
        <p:spPr bwMode="auto">
          <a:xfrm>
            <a:off x="5208381" y="2945009"/>
            <a:ext cx="328721" cy="121108"/>
          </a:xfrm>
          <a:custGeom>
            <a:avLst/>
            <a:gdLst>
              <a:gd name="T0" fmla="*/ 249 w 452"/>
              <a:gd name="T1" fmla="*/ 0 h 165"/>
              <a:gd name="T2" fmla="*/ 293 w 452"/>
              <a:gd name="T3" fmla="*/ 3 h 165"/>
              <a:gd name="T4" fmla="*/ 334 w 452"/>
              <a:gd name="T5" fmla="*/ 10 h 165"/>
              <a:gd name="T6" fmla="*/ 370 w 452"/>
              <a:gd name="T7" fmla="*/ 18 h 165"/>
              <a:gd name="T8" fmla="*/ 401 w 452"/>
              <a:gd name="T9" fmla="*/ 29 h 165"/>
              <a:gd name="T10" fmla="*/ 425 w 452"/>
              <a:gd name="T11" fmla="*/ 43 h 165"/>
              <a:gd name="T12" fmla="*/ 442 w 452"/>
              <a:gd name="T13" fmla="*/ 57 h 165"/>
              <a:gd name="T14" fmla="*/ 450 w 452"/>
              <a:gd name="T15" fmla="*/ 69 h 165"/>
              <a:gd name="T16" fmla="*/ 452 w 452"/>
              <a:gd name="T17" fmla="*/ 78 h 165"/>
              <a:gd name="T18" fmla="*/ 452 w 452"/>
              <a:gd name="T19" fmla="*/ 86 h 165"/>
              <a:gd name="T20" fmla="*/ 450 w 452"/>
              <a:gd name="T21" fmla="*/ 95 h 165"/>
              <a:gd name="T22" fmla="*/ 442 w 452"/>
              <a:gd name="T23" fmla="*/ 107 h 165"/>
              <a:gd name="T24" fmla="*/ 425 w 452"/>
              <a:gd name="T25" fmla="*/ 122 h 165"/>
              <a:gd name="T26" fmla="*/ 401 w 452"/>
              <a:gd name="T27" fmla="*/ 135 h 165"/>
              <a:gd name="T28" fmla="*/ 370 w 452"/>
              <a:gd name="T29" fmla="*/ 146 h 165"/>
              <a:gd name="T30" fmla="*/ 334 w 452"/>
              <a:gd name="T31" fmla="*/ 154 h 165"/>
              <a:gd name="T32" fmla="*/ 293 w 452"/>
              <a:gd name="T33" fmla="*/ 161 h 165"/>
              <a:gd name="T34" fmla="*/ 249 w 452"/>
              <a:gd name="T35" fmla="*/ 164 h 165"/>
              <a:gd name="T36" fmla="*/ 203 w 452"/>
              <a:gd name="T37" fmla="*/ 164 h 165"/>
              <a:gd name="T38" fmla="*/ 158 w 452"/>
              <a:gd name="T39" fmla="*/ 161 h 165"/>
              <a:gd name="T40" fmla="*/ 117 w 452"/>
              <a:gd name="T41" fmla="*/ 154 h 165"/>
              <a:gd name="T42" fmla="*/ 82 w 452"/>
              <a:gd name="T43" fmla="*/ 146 h 165"/>
              <a:gd name="T44" fmla="*/ 51 w 452"/>
              <a:gd name="T45" fmla="*/ 135 h 165"/>
              <a:gd name="T46" fmla="*/ 27 w 452"/>
              <a:gd name="T47" fmla="*/ 122 h 165"/>
              <a:gd name="T48" fmla="*/ 9 w 452"/>
              <a:gd name="T49" fmla="*/ 107 h 165"/>
              <a:gd name="T50" fmla="*/ 2 w 452"/>
              <a:gd name="T51" fmla="*/ 95 h 165"/>
              <a:gd name="T52" fmla="*/ 0 w 452"/>
              <a:gd name="T53" fmla="*/ 86 h 165"/>
              <a:gd name="T54" fmla="*/ 0 w 452"/>
              <a:gd name="T55" fmla="*/ 78 h 165"/>
              <a:gd name="T56" fmla="*/ 2 w 452"/>
              <a:gd name="T57" fmla="*/ 69 h 165"/>
              <a:gd name="T58" fmla="*/ 9 w 452"/>
              <a:gd name="T59" fmla="*/ 57 h 165"/>
              <a:gd name="T60" fmla="*/ 27 w 452"/>
              <a:gd name="T61" fmla="*/ 43 h 165"/>
              <a:gd name="T62" fmla="*/ 51 w 452"/>
              <a:gd name="T63" fmla="*/ 29 h 165"/>
              <a:gd name="T64" fmla="*/ 82 w 452"/>
              <a:gd name="T65" fmla="*/ 18 h 165"/>
              <a:gd name="T66" fmla="*/ 117 w 452"/>
              <a:gd name="T67" fmla="*/ 10 h 165"/>
              <a:gd name="T68" fmla="*/ 158 w 452"/>
              <a:gd name="T69" fmla="*/ 3 h 165"/>
              <a:gd name="T70" fmla="*/ 203 w 452"/>
              <a:gd name="T71" fmla="*/ 0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52" h="165">
                <a:moveTo>
                  <a:pt x="226" y="0"/>
                </a:moveTo>
                <a:lnTo>
                  <a:pt x="249" y="0"/>
                </a:lnTo>
                <a:lnTo>
                  <a:pt x="272" y="1"/>
                </a:lnTo>
                <a:lnTo>
                  <a:pt x="293" y="3"/>
                </a:lnTo>
                <a:lnTo>
                  <a:pt x="314" y="6"/>
                </a:lnTo>
                <a:lnTo>
                  <a:pt x="334" y="10"/>
                </a:lnTo>
                <a:lnTo>
                  <a:pt x="353" y="14"/>
                </a:lnTo>
                <a:lnTo>
                  <a:pt x="370" y="18"/>
                </a:lnTo>
                <a:lnTo>
                  <a:pt x="386" y="24"/>
                </a:lnTo>
                <a:lnTo>
                  <a:pt x="401" y="29"/>
                </a:lnTo>
                <a:lnTo>
                  <a:pt x="414" y="35"/>
                </a:lnTo>
                <a:lnTo>
                  <a:pt x="425" y="43"/>
                </a:lnTo>
                <a:lnTo>
                  <a:pt x="435" y="50"/>
                </a:lnTo>
                <a:lnTo>
                  <a:pt x="442" y="57"/>
                </a:lnTo>
                <a:lnTo>
                  <a:pt x="448" y="66"/>
                </a:lnTo>
                <a:lnTo>
                  <a:pt x="450" y="69"/>
                </a:lnTo>
                <a:lnTo>
                  <a:pt x="451" y="73"/>
                </a:lnTo>
                <a:lnTo>
                  <a:pt x="452" y="78"/>
                </a:lnTo>
                <a:lnTo>
                  <a:pt x="452" y="82"/>
                </a:lnTo>
                <a:lnTo>
                  <a:pt x="452" y="86"/>
                </a:lnTo>
                <a:lnTo>
                  <a:pt x="451" y="91"/>
                </a:lnTo>
                <a:lnTo>
                  <a:pt x="450" y="95"/>
                </a:lnTo>
                <a:lnTo>
                  <a:pt x="448" y="98"/>
                </a:lnTo>
                <a:lnTo>
                  <a:pt x="442" y="107"/>
                </a:lnTo>
                <a:lnTo>
                  <a:pt x="435" y="114"/>
                </a:lnTo>
                <a:lnTo>
                  <a:pt x="425" y="122"/>
                </a:lnTo>
                <a:lnTo>
                  <a:pt x="414" y="128"/>
                </a:lnTo>
                <a:lnTo>
                  <a:pt x="401" y="135"/>
                </a:lnTo>
                <a:lnTo>
                  <a:pt x="386" y="140"/>
                </a:lnTo>
                <a:lnTo>
                  <a:pt x="370" y="146"/>
                </a:lnTo>
                <a:lnTo>
                  <a:pt x="353" y="151"/>
                </a:lnTo>
                <a:lnTo>
                  <a:pt x="334" y="154"/>
                </a:lnTo>
                <a:lnTo>
                  <a:pt x="314" y="159"/>
                </a:lnTo>
                <a:lnTo>
                  <a:pt x="293" y="161"/>
                </a:lnTo>
                <a:lnTo>
                  <a:pt x="272" y="163"/>
                </a:lnTo>
                <a:lnTo>
                  <a:pt x="249" y="164"/>
                </a:lnTo>
                <a:lnTo>
                  <a:pt x="226" y="165"/>
                </a:lnTo>
                <a:lnTo>
                  <a:pt x="203" y="164"/>
                </a:lnTo>
                <a:lnTo>
                  <a:pt x="180" y="163"/>
                </a:lnTo>
                <a:lnTo>
                  <a:pt x="158" y="161"/>
                </a:lnTo>
                <a:lnTo>
                  <a:pt x="138" y="159"/>
                </a:lnTo>
                <a:lnTo>
                  <a:pt x="117" y="154"/>
                </a:lnTo>
                <a:lnTo>
                  <a:pt x="99" y="151"/>
                </a:lnTo>
                <a:lnTo>
                  <a:pt x="82" y="146"/>
                </a:lnTo>
                <a:lnTo>
                  <a:pt x="66" y="140"/>
                </a:lnTo>
                <a:lnTo>
                  <a:pt x="51" y="135"/>
                </a:lnTo>
                <a:lnTo>
                  <a:pt x="37" y="128"/>
                </a:lnTo>
                <a:lnTo>
                  <a:pt x="27" y="122"/>
                </a:lnTo>
                <a:lnTo>
                  <a:pt x="17" y="114"/>
                </a:lnTo>
                <a:lnTo>
                  <a:pt x="9" y="107"/>
                </a:lnTo>
                <a:lnTo>
                  <a:pt x="4" y="98"/>
                </a:lnTo>
                <a:lnTo>
                  <a:pt x="2" y="95"/>
                </a:lnTo>
                <a:lnTo>
                  <a:pt x="1" y="91"/>
                </a:lnTo>
                <a:lnTo>
                  <a:pt x="0" y="86"/>
                </a:lnTo>
                <a:lnTo>
                  <a:pt x="0" y="82"/>
                </a:lnTo>
                <a:lnTo>
                  <a:pt x="0" y="78"/>
                </a:lnTo>
                <a:lnTo>
                  <a:pt x="1" y="73"/>
                </a:lnTo>
                <a:lnTo>
                  <a:pt x="2" y="69"/>
                </a:lnTo>
                <a:lnTo>
                  <a:pt x="4" y="66"/>
                </a:lnTo>
                <a:lnTo>
                  <a:pt x="9" y="57"/>
                </a:lnTo>
                <a:lnTo>
                  <a:pt x="17" y="50"/>
                </a:lnTo>
                <a:lnTo>
                  <a:pt x="27" y="43"/>
                </a:lnTo>
                <a:lnTo>
                  <a:pt x="37" y="35"/>
                </a:lnTo>
                <a:lnTo>
                  <a:pt x="51" y="29"/>
                </a:lnTo>
                <a:lnTo>
                  <a:pt x="66" y="24"/>
                </a:lnTo>
                <a:lnTo>
                  <a:pt x="82" y="18"/>
                </a:lnTo>
                <a:lnTo>
                  <a:pt x="99" y="14"/>
                </a:lnTo>
                <a:lnTo>
                  <a:pt x="117" y="10"/>
                </a:lnTo>
                <a:lnTo>
                  <a:pt x="138" y="6"/>
                </a:lnTo>
                <a:lnTo>
                  <a:pt x="158" y="3"/>
                </a:lnTo>
                <a:lnTo>
                  <a:pt x="180" y="1"/>
                </a:lnTo>
                <a:lnTo>
                  <a:pt x="203" y="0"/>
                </a:lnTo>
                <a:lnTo>
                  <a:pt x="226" y="0"/>
                </a:lnTo>
                <a:close/>
              </a:path>
            </a:pathLst>
          </a:custGeom>
          <a:solidFill>
            <a:srgbClr val="0A518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18"/>
          <p:cNvSpPr>
            <a:spLocks noEditPoints="1"/>
          </p:cNvSpPr>
          <p:nvPr/>
        </p:nvSpPr>
        <p:spPr bwMode="auto">
          <a:xfrm>
            <a:off x="5142061" y="2323881"/>
            <a:ext cx="198963" cy="2136680"/>
          </a:xfrm>
          <a:custGeom>
            <a:avLst/>
            <a:gdLst>
              <a:gd name="T0" fmla="*/ 160 w 275"/>
              <a:gd name="T1" fmla="*/ 171 h 2964"/>
              <a:gd name="T2" fmla="*/ 0 w 275"/>
              <a:gd name="T3" fmla="*/ 195 h 2964"/>
              <a:gd name="T4" fmla="*/ 0 w 275"/>
              <a:gd name="T5" fmla="*/ 2340 h 2964"/>
              <a:gd name="T6" fmla="*/ 275 w 275"/>
              <a:gd name="T7" fmla="*/ 2363 h 2964"/>
              <a:gd name="T8" fmla="*/ 0 w 275"/>
              <a:gd name="T9" fmla="*/ 2340 h 2964"/>
              <a:gd name="T10" fmla="*/ 275 w 275"/>
              <a:gd name="T11" fmla="*/ 1560 h 2964"/>
              <a:gd name="T12" fmla="*/ 0 w 275"/>
              <a:gd name="T13" fmla="*/ 1584 h 2964"/>
              <a:gd name="T14" fmla="*/ 0 w 275"/>
              <a:gd name="T15" fmla="*/ 780 h 2964"/>
              <a:gd name="T16" fmla="*/ 275 w 275"/>
              <a:gd name="T17" fmla="*/ 805 h 2964"/>
              <a:gd name="T18" fmla="*/ 0 w 275"/>
              <a:gd name="T19" fmla="*/ 780 h 2964"/>
              <a:gd name="T20" fmla="*/ 160 w 275"/>
              <a:gd name="T21" fmla="*/ 2939 h 2964"/>
              <a:gd name="T22" fmla="*/ 0 w 275"/>
              <a:gd name="T23" fmla="*/ 2964 h 2964"/>
              <a:gd name="T24" fmla="*/ 0 w 275"/>
              <a:gd name="T25" fmla="*/ 2160 h 2964"/>
              <a:gd name="T26" fmla="*/ 160 w 275"/>
              <a:gd name="T27" fmla="*/ 2184 h 2964"/>
              <a:gd name="T28" fmla="*/ 0 w 275"/>
              <a:gd name="T29" fmla="*/ 2160 h 2964"/>
              <a:gd name="T30" fmla="*/ 160 w 275"/>
              <a:gd name="T31" fmla="*/ 1381 h 2964"/>
              <a:gd name="T32" fmla="*/ 0 w 275"/>
              <a:gd name="T33" fmla="*/ 1406 h 2964"/>
              <a:gd name="T34" fmla="*/ 0 w 275"/>
              <a:gd name="T35" fmla="*/ 2797 h 2964"/>
              <a:gd name="T36" fmla="*/ 160 w 275"/>
              <a:gd name="T37" fmla="*/ 2820 h 2964"/>
              <a:gd name="T38" fmla="*/ 0 w 275"/>
              <a:gd name="T39" fmla="*/ 2797 h 2964"/>
              <a:gd name="T40" fmla="*/ 160 w 275"/>
              <a:gd name="T41" fmla="*/ 2017 h 2964"/>
              <a:gd name="T42" fmla="*/ 0 w 275"/>
              <a:gd name="T43" fmla="*/ 2041 h 2964"/>
              <a:gd name="T44" fmla="*/ 0 w 275"/>
              <a:gd name="T45" fmla="*/ 1237 h 2964"/>
              <a:gd name="T46" fmla="*/ 160 w 275"/>
              <a:gd name="T47" fmla="*/ 1262 h 2964"/>
              <a:gd name="T48" fmla="*/ 0 w 275"/>
              <a:gd name="T49" fmla="*/ 1237 h 2964"/>
              <a:gd name="T50" fmla="*/ 160 w 275"/>
              <a:gd name="T51" fmla="*/ 2653 h 2964"/>
              <a:gd name="T52" fmla="*/ 0 w 275"/>
              <a:gd name="T53" fmla="*/ 2677 h 2964"/>
              <a:gd name="T54" fmla="*/ 0 w 275"/>
              <a:gd name="T55" fmla="*/ 1873 h 2964"/>
              <a:gd name="T56" fmla="*/ 160 w 275"/>
              <a:gd name="T57" fmla="*/ 1897 h 2964"/>
              <a:gd name="T58" fmla="*/ 0 w 275"/>
              <a:gd name="T59" fmla="*/ 1873 h 2964"/>
              <a:gd name="T60" fmla="*/ 160 w 275"/>
              <a:gd name="T61" fmla="*/ 1093 h 2964"/>
              <a:gd name="T62" fmla="*/ 0 w 275"/>
              <a:gd name="T63" fmla="*/ 1118 h 2964"/>
              <a:gd name="T64" fmla="*/ 0 w 275"/>
              <a:gd name="T65" fmla="*/ 2509 h 2964"/>
              <a:gd name="T66" fmla="*/ 160 w 275"/>
              <a:gd name="T67" fmla="*/ 2533 h 2964"/>
              <a:gd name="T68" fmla="*/ 0 w 275"/>
              <a:gd name="T69" fmla="*/ 2509 h 2964"/>
              <a:gd name="T70" fmla="*/ 160 w 275"/>
              <a:gd name="T71" fmla="*/ 1730 h 2964"/>
              <a:gd name="T72" fmla="*/ 0 w 275"/>
              <a:gd name="T73" fmla="*/ 1754 h 2964"/>
              <a:gd name="T74" fmla="*/ 0 w 275"/>
              <a:gd name="T75" fmla="*/ 950 h 2964"/>
              <a:gd name="T76" fmla="*/ 160 w 275"/>
              <a:gd name="T77" fmla="*/ 975 h 2964"/>
              <a:gd name="T78" fmla="*/ 0 w 275"/>
              <a:gd name="T79" fmla="*/ 950 h 2964"/>
              <a:gd name="T80" fmla="*/ 275 w 275"/>
              <a:gd name="T81" fmla="*/ 0 h 2964"/>
              <a:gd name="T82" fmla="*/ 0 w 275"/>
              <a:gd name="T83" fmla="*/ 25 h 2964"/>
              <a:gd name="T84" fmla="*/ 0 w 275"/>
              <a:gd name="T85" fmla="*/ 601 h 2964"/>
              <a:gd name="T86" fmla="*/ 160 w 275"/>
              <a:gd name="T87" fmla="*/ 626 h 2964"/>
              <a:gd name="T88" fmla="*/ 0 w 275"/>
              <a:gd name="T89" fmla="*/ 601 h 2964"/>
              <a:gd name="T90" fmla="*/ 160 w 275"/>
              <a:gd name="T91" fmla="*/ 458 h 2964"/>
              <a:gd name="T92" fmla="*/ 0 w 275"/>
              <a:gd name="T93" fmla="*/ 482 h 2964"/>
              <a:gd name="T94" fmla="*/ 0 w 275"/>
              <a:gd name="T95" fmla="*/ 315 h 2964"/>
              <a:gd name="T96" fmla="*/ 160 w 275"/>
              <a:gd name="T97" fmla="*/ 338 h 2964"/>
              <a:gd name="T98" fmla="*/ 0 w 275"/>
              <a:gd name="T99" fmla="*/ 315 h 2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5" h="2964">
                <a:moveTo>
                  <a:pt x="0" y="171"/>
                </a:moveTo>
                <a:lnTo>
                  <a:pt x="160" y="171"/>
                </a:lnTo>
                <a:lnTo>
                  <a:pt x="160" y="195"/>
                </a:lnTo>
                <a:lnTo>
                  <a:pt x="0" y="195"/>
                </a:lnTo>
                <a:lnTo>
                  <a:pt x="0" y="171"/>
                </a:lnTo>
                <a:close/>
                <a:moveTo>
                  <a:pt x="0" y="2340"/>
                </a:moveTo>
                <a:lnTo>
                  <a:pt x="275" y="2340"/>
                </a:lnTo>
                <a:lnTo>
                  <a:pt x="275" y="2363"/>
                </a:lnTo>
                <a:lnTo>
                  <a:pt x="0" y="2363"/>
                </a:lnTo>
                <a:lnTo>
                  <a:pt x="0" y="2340"/>
                </a:lnTo>
                <a:close/>
                <a:moveTo>
                  <a:pt x="0" y="1560"/>
                </a:moveTo>
                <a:lnTo>
                  <a:pt x="275" y="1560"/>
                </a:lnTo>
                <a:lnTo>
                  <a:pt x="275" y="1584"/>
                </a:lnTo>
                <a:lnTo>
                  <a:pt x="0" y="1584"/>
                </a:lnTo>
                <a:lnTo>
                  <a:pt x="0" y="1560"/>
                </a:lnTo>
                <a:close/>
                <a:moveTo>
                  <a:pt x="0" y="780"/>
                </a:moveTo>
                <a:lnTo>
                  <a:pt x="275" y="780"/>
                </a:lnTo>
                <a:lnTo>
                  <a:pt x="275" y="805"/>
                </a:lnTo>
                <a:lnTo>
                  <a:pt x="0" y="805"/>
                </a:lnTo>
                <a:lnTo>
                  <a:pt x="0" y="780"/>
                </a:lnTo>
                <a:close/>
                <a:moveTo>
                  <a:pt x="0" y="2939"/>
                </a:moveTo>
                <a:lnTo>
                  <a:pt x="160" y="2939"/>
                </a:lnTo>
                <a:lnTo>
                  <a:pt x="160" y="2964"/>
                </a:lnTo>
                <a:lnTo>
                  <a:pt x="0" y="2964"/>
                </a:lnTo>
                <a:lnTo>
                  <a:pt x="0" y="2939"/>
                </a:lnTo>
                <a:close/>
                <a:moveTo>
                  <a:pt x="0" y="2160"/>
                </a:moveTo>
                <a:lnTo>
                  <a:pt x="160" y="2160"/>
                </a:lnTo>
                <a:lnTo>
                  <a:pt x="160" y="2184"/>
                </a:lnTo>
                <a:lnTo>
                  <a:pt x="0" y="2184"/>
                </a:lnTo>
                <a:lnTo>
                  <a:pt x="0" y="2160"/>
                </a:lnTo>
                <a:close/>
                <a:moveTo>
                  <a:pt x="0" y="1381"/>
                </a:moveTo>
                <a:lnTo>
                  <a:pt x="160" y="1381"/>
                </a:lnTo>
                <a:lnTo>
                  <a:pt x="160" y="1406"/>
                </a:lnTo>
                <a:lnTo>
                  <a:pt x="0" y="1406"/>
                </a:lnTo>
                <a:lnTo>
                  <a:pt x="0" y="1381"/>
                </a:lnTo>
                <a:close/>
                <a:moveTo>
                  <a:pt x="0" y="2797"/>
                </a:moveTo>
                <a:lnTo>
                  <a:pt x="160" y="2797"/>
                </a:lnTo>
                <a:lnTo>
                  <a:pt x="160" y="2820"/>
                </a:lnTo>
                <a:lnTo>
                  <a:pt x="0" y="2820"/>
                </a:lnTo>
                <a:lnTo>
                  <a:pt x="0" y="2797"/>
                </a:lnTo>
                <a:close/>
                <a:moveTo>
                  <a:pt x="0" y="2017"/>
                </a:moveTo>
                <a:lnTo>
                  <a:pt x="160" y="2017"/>
                </a:lnTo>
                <a:lnTo>
                  <a:pt x="160" y="2041"/>
                </a:lnTo>
                <a:lnTo>
                  <a:pt x="0" y="2041"/>
                </a:lnTo>
                <a:lnTo>
                  <a:pt x="0" y="2017"/>
                </a:lnTo>
                <a:close/>
                <a:moveTo>
                  <a:pt x="0" y="1237"/>
                </a:moveTo>
                <a:lnTo>
                  <a:pt x="160" y="1237"/>
                </a:lnTo>
                <a:lnTo>
                  <a:pt x="160" y="1262"/>
                </a:lnTo>
                <a:lnTo>
                  <a:pt x="0" y="1262"/>
                </a:lnTo>
                <a:lnTo>
                  <a:pt x="0" y="1237"/>
                </a:lnTo>
                <a:close/>
                <a:moveTo>
                  <a:pt x="0" y="2653"/>
                </a:moveTo>
                <a:lnTo>
                  <a:pt x="160" y="2653"/>
                </a:lnTo>
                <a:lnTo>
                  <a:pt x="160" y="2677"/>
                </a:lnTo>
                <a:lnTo>
                  <a:pt x="0" y="2677"/>
                </a:lnTo>
                <a:lnTo>
                  <a:pt x="0" y="2653"/>
                </a:lnTo>
                <a:close/>
                <a:moveTo>
                  <a:pt x="0" y="1873"/>
                </a:moveTo>
                <a:lnTo>
                  <a:pt x="160" y="1873"/>
                </a:lnTo>
                <a:lnTo>
                  <a:pt x="160" y="1897"/>
                </a:lnTo>
                <a:lnTo>
                  <a:pt x="0" y="1897"/>
                </a:lnTo>
                <a:lnTo>
                  <a:pt x="0" y="1873"/>
                </a:lnTo>
                <a:close/>
                <a:moveTo>
                  <a:pt x="0" y="1093"/>
                </a:moveTo>
                <a:lnTo>
                  <a:pt x="160" y="1093"/>
                </a:lnTo>
                <a:lnTo>
                  <a:pt x="160" y="1118"/>
                </a:lnTo>
                <a:lnTo>
                  <a:pt x="0" y="1118"/>
                </a:lnTo>
                <a:lnTo>
                  <a:pt x="0" y="1093"/>
                </a:lnTo>
                <a:close/>
                <a:moveTo>
                  <a:pt x="0" y="2509"/>
                </a:moveTo>
                <a:lnTo>
                  <a:pt x="160" y="2509"/>
                </a:lnTo>
                <a:lnTo>
                  <a:pt x="160" y="2533"/>
                </a:lnTo>
                <a:lnTo>
                  <a:pt x="0" y="2533"/>
                </a:lnTo>
                <a:lnTo>
                  <a:pt x="0" y="2509"/>
                </a:lnTo>
                <a:close/>
                <a:moveTo>
                  <a:pt x="0" y="1730"/>
                </a:moveTo>
                <a:lnTo>
                  <a:pt x="160" y="1730"/>
                </a:lnTo>
                <a:lnTo>
                  <a:pt x="160" y="1754"/>
                </a:lnTo>
                <a:lnTo>
                  <a:pt x="0" y="1754"/>
                </a:lnTo>
                <a:lnTo>
                  <a:pt x="0" y="1730"/>
                </a:lnTo>
                <a:close/>
                <a:moveTo>
                  <a:pt x="0" y="950"/>
                </a:moveTo>
                <a:lnTo>
                  <a:pt x="160" y="950"/>
                </a:lnTo>
                <a:lnTo>
                  <a:pt x="160" y="975"/>
                </a:lnTo>
                <a:lnTo>
                  <a:pt x="0" y="975"/>
                </a:lnTo>
                <a:lnTo>
                  <a:pt x="0" y="950"/>
                </a:lnTo>
                <a:close/>
                <a:moveTo>
                  <a:pt x="0" y="0"/>
                </a:moveTo>
                <a:lnTo>
                  <a:pt x="275" y="0"/>
                </a:lnTo>
                <a:lnTo>
                  <a:pt x="275" y="25"/>
                </a:lnTo>
                <a:lnTo>
                  <a:pt x="0" y="25"/>
                </a:lnTo>
                <a:lnTo>
                  <a:pt x="0" y="0"/>
                </a:lnTo>
                <a:close/>
                <a:moveTo>
                  <a:pt x="0" y="601"/>
                </a:moveTo>
                <a:lnTo>
                  <a:pt x="160" y="601"/>
                </a:lnTo>
                <a:lnTo>
                  <a:pt x="160" y="626"/>
                </a:lnTo>
                <a:lnTo>
                  <a:pt x="0" y="626"/>
                </a:lnTo>
                <a:lnTo>
                  <a:pt x="0" y="601"/>
                </a:lnTo>
                <a:close/>
                <a:moveTo>
                  <a:pt x="0" y="458"/>
                </a:moveTo>
                <a:lnTo>
                  <a:pt x="160" y="458"/>
                </a:lnTo>
                <a:lnTo>
                  <a:pt x="160" y="482"/>
                </a:lnTo>
                <a:lnTo>
                  <a:pt x="0" y="482"/>
                </a:lnTo>
                <a:lnTo>
                  <a:pt x="0" y="458"/>
                </a:lnTo>
                <a:close/>
                <a:moveTo>
                  <a:pt x="0" y="315"/>
                </a:moveTo>
                <a:lnTo>
                  <a:pt x="160" y="315"/>
                </a:lnTo>
                <a:lnTo>
                  <a:pt x="160" y="338"/>
                </a:lnTo>
                <a:lnTo>
                  <a:pt x="0" y="338"/>
                </a:lnTo>
                <a:lnTo>
                  <a:pt x="0" y="315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TextBox 64"/>
          <p:cNvSpPr txBox="1"/>
          <p:nvPr/>
        </p:nvSpPr>
        <p:spPr>
          <a:xfrm>
            <a:off x="1486807" y="5397535"/>
            <a:ext cx="1024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3085336" y="5397535"/>
            <a:ext cx="1024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4870360" y="5397535"/>
            <a:ext cx="1024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6575199" y="5397535"/>
            <a:ext cx="1024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9" name="Rectangle 33"/>
          <p:cNvSpPr>
            <a:spLocks/>
          </p:cNvSpPr>
          <p:nvPr/>
        </p:nvSpPr>
        <p:spPr bwMode="auto">
          <a:xfrm>
            <a:off x="7700128" y="2080294"/>
            <a:ext cx="101933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7126514" y="2323881"/>
            <a:ext cx="463584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1509486" y="4326852"/>
            <a:ext cx="463584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Rectangle 33"/>
          <p:cNvSpPr>
            <a:spLocks/>
          </p:cNvSpPr>
          <p:nvPr/>
        </p:nvSpPr>
        <p:spPr bwMode="auto">
          <a:xfrm>
            <a:off x="442985" y="4213894"/>
            <a:ext cx="101933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err="1"/>
              <a:t>Lorem</a:t>
            </a:r>
            <a:r>
              <a:rPr lang="en-US" sz="1100" b="1" dirty="0"/>
              <a:t> </a:t>
            </a:r>
            <a:r>
              <a:rPr lang="en-US" sz="1100" b="1" dirty="0" err="1"/>
              <a:t>Ipsum</a:t>
            </a:r>
            <a:r>
              <a:rPr lang="en-US" sz="1100" b="1" dirty="0"/>
              <a:t> </a:t>
            </a:r>
            <a:r>
              <a:rPr lang="en-US" sz="1100" dirty="0"/>
              <a:t>is simply dummy text of the printing and typesetting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681935" y="1907898"/>
            <a:ext cx="856348" cy="856348"/>
            <a:chOff x="3174526" y="2173970"/>
            <a:chExt cx="1733550" cy="1733550"/>
          </a:xfrm>
        </p:grpSpPr>
        <p:sp>
          <p:nvSpPr>
            <p:cNvPr id="73" name="Freeform 8"/>
            <p:cNvSpPr>
              <a:spLocks noEditPoints="1"/>
            </p:cNvSpPr>
            <p:nvPr/>
          </p:nvSpPr>
          <p:spPr bwMode="auto">
            <a:xfrm>
              <a:off x="3174526" y="2173970"/>
              <a:ext cx="1733550" cy="1733550"/>
            </a:xfrm>
            <a:custGeom>
              <a:avLst/>
              <a:gdLst>
                <a:gd name="T0" fmla="*/ 2043 w 3456"/>
                <a:gd name="T1" fmla="*/ 373 h 3456"/>
                <a:gd name="T2" fmla="*/ 2320 w 3456"/>
                <a:gd name="T3" fmla="*/ 469 h 3456"/>
                <a:gd name="T4" fmla="*/ 2567 w 3456"/>
                <a:gd name="T5" fmla="*/ 619 h 3456"/>
                <a:gd name="T6" fmla="*/ 2777 w 3456"/>
                <a:gd name="T7" fmla="*/ 814 h 3456"/>
                <a:gd name="T8" fmla="*/ 2942 w 3456"/>
                <a:gd name="T9" fmla="*/ 1050 h 3456"/>
                <a:gd name="T10" fmla="*/ 3057 w 3456"/>
                <a:gd name="T11" fmla="*/ 1318 h 3456"/>
                <a:gd name="T12" fmla="*/ 3113 w 3456"/>
                <a:gd name="T13" fmla="*/ 1611 h 3456"/>
                <a:gd name="T14" fmla="*/ 3106 w 3456"/>
                <a:gd name="T15" fmla="*/ 1913 h 3456"/>
                <a:gd name="T16" fmla="*/ 3037 w 3456"/>
                <a:gd name="T17" fmla="*/ 2201 h 3456"/>
                <a:gd name="T18" fmla="*/ 2909 w 3456"/>
                <a:gd name="T19" fmla="*/ 2461 h 3456"/>
                <a:gd name="T20" fmla="*/ 2733 w 3456"/>
                <a:gd name="T21" fmla="*/ 2689 h 3456"/>
                <a:gd name="T22" fmla="*/ 2515 w 3456"/>
                <a:gd name="T23" fmla="*/ 2875 h 3456"/>
                <a:gd name="T24" fmla="*/ 2260 w 3456"/>
                <a:gd name="T25" fmla="*/ 3013 h 3456"/>
                <a:gd name="T26" fmla="*/ 1977 w 3456"/>
                <a:gd name="T27" fmla="*/ 3096 h 3456"/>
                <a:gd name="T28" fmla="*/ 1678 w 3456"/>
                <a:gd name="T29" fmla="*/ 3118 h 3456"/>
                <a:gd name="T30" fmla="*/ 1380 w 3456"/>
                <a:gd name="T31" fmla="*/ 3076 h 3456"/>
                <a:gd name="T32" fmla="*/ 1107 w 3456"/>
                <a:gd name="T33" fmla="*/ 2973 h 3456"/>
                <a:gd name="T34" fmla="*/ 863 w 3456"/>
                <a:gd name="T35" fmla="*/ 2818 h 3456"/>
                <a:gd name="T36" fmla="*/ 658 w 3456"/>
                <a:gd name="T37" fmla="*/ 2617 h 3456"/>
                <a:gd name="T38" fmla="*/ 498 w 3456"/>
                <a:gd name="T39" fmla="*/ 2378 h 3456"/>
                <a:gd name="T40" fmla="*/ 389 w 3456"/>
                <a:gd name="T41" fmla="*/ 2107 h 3456"/>
                <a:gd name="T42" fmla="*/ 339 w 3456"/>
                <a:gd name="T43" fmla="*/ 1811 h 3456"/>
                <a:gd name="T44" fmla="*/ 354 w 3456"/>
                <a:gd name="T45" fmla="*/ 1511 h 3456"/>
                <a:gd name="T46" fmla="*/ 431 w 3456"/>
                <a:gd name="T47" fmla="*/ 1226 h 3456"/>
                <a:gd name="T48" fmla="*/ 563 w 3456"/>
                <a:gd name="T49" fmla="*/ 968 h 3456"/>
                <a:gd name="T50" fmla="*/ 744 w 3456"/>
                <a:gd name="T51" fmla="*/ 744 h 3456"/>
                <a:gd name="T52" fmla="*/ 968 w 3456"/>
                <a:gd name="T53" fmla="*/ 564 h 3456"/>
                <a:gd name="T54" fmla="*/ 1225 w 3456"/>
                <a:gd name="T55" fmla="*/ 431 h 3456"/>
                <a:gd name="T56" fmla="*/ 1511 w 3456"/>
                <a:gd name="T57" fmla="*/ 354 h 3456"/>
                <a:gd name="T58" fmla="*/ 2572 w 3456"/>
                <a:gd name="T59" fmla="*/ 883 h 3456"/>
                <a:gd name="T60" fmla="*/ 2372 w 3456"/>
                <a:gd name="T61" fmla="*/ 723 h 3456"/>
                <a:gd name="T62" fmla="*/ 2138 w 3456"/>
                <a:gd name="T63" fmla="*/ 607 h 3456"/>
                <a:gd name="T64" fmla="*/ 1880 w 3456"/>
                <a:gd name="T65" fmla="*/ 544 h 3456"/>
                <a:gd name="T66" fmla="*/ 1606 w 3456"/>
                <a:gd name="T67" fmla="*/ 540 h 3456"/>
                <a:gd name="T68" fmla="*/ 1345 w 3456"/>
                <a:gd name="T69" fmla="*/ 597 h 3456"/>
                <a:gd name="T70" fmla="*/ 1109 w 3456"/>
                <a:gd name="T71" fmla="*/ 707 h 3456"/>
                <a:gd name="T72" fmla="*/ 904 w 3456"/>
                <a:gd name="T73" fmla="*/ 864 h 3456"/>
                <a:gd name="T74" fmla="*/ 738 w 3456"/>
                <a:gd name="T75" fmla="*/ 1061 h 3456"/>
                <a:gd name="T76" fmla="*/ 617 w 3456"/>
                <a:gd name="T77" fmla="*/ 1291 h 3456"/>
                <a:gd name="T78" fmla="*/ 548 w 3456"/>
                <a:gd name="T79" fmla="*/ 1547 h 3456"/>
                <a:gd name="T80" fmla="*/ 537 w 3456"/>
                <a:gd name="T81" fmla="*/ 1820 h 3456"/>
                <a:gd name="T82" fmla="*/ 588 w 3456"/>
                <a:gd name="T83" fmla="*/ 2083 h 3456"/>
                <a:gd name="T84" fmla="*/ 692 w 3456"/>
                <a:gd name="T85" fmla="*/ 2322 h 3456"/>
                <a:gd name="T86" fmla="*/ 843 w 3456"/>
                <a:gd name="T87" fmla="*/ 2532 h 3456"/>
                <a:gd name="T88" fmla="*/ 1037 w 3456"/>
                <a:gd name="T89" fmla="*/ 2702 h 3456"/>
                <a:gd name="T90" fmla="*/ 1262 w 3456"/>
                <a:gd name="T91" fmla="*/ 2829 h 3456"/>
                <a:gd name="T92" fmla="*/ 1516 w 3456"/>
                <a:gd name="T93" fmla="*/ 2903 h 3456"/>
                <a:gd name="T94" fmla="*/ 1789 w 3456"/>
                <a:gd name="T95" fmla="*/ 2920 h 3456"/>
                <a:gd name="T96" fmla="*/ 2054 w 3456"/>
                <a:gd name="T97" fmla="*/ 2877 h 3456"/>
                <a:gd name="T98" fmla="*/ 2297 w 3456"/>
                <a:gd name="T99" fmla="*/ 2778 h 3456"/>
                <a:gd name="T100" fmla="*/ 2509 w 3456"/>
                <a:gd name="T101" fmla="*/ 2631 h 3456"/>
                <a:gd name="T102" fmla="*/ 2685 w 3456"/>
                <a:gd name="T103" fmla="*/ 2443 h 3456"/>
                <a:gd name="T104" fmla="*/ 2816 w 3456"/>
                <a:gd name="T105" fmla="*/ 2219 h 3456"/>
                <a:gd name="T106" fmla="*/ 2897 w 3456"/>
                <a:gd name="T107" fmla="*/ 1969 h 3456"/>
                <a:gd name="T108" fmla="*/ 2921 w 3456"/>
                <a:gd name="T109" fmla="*/ 1698 h 3456"/>
                <a:gd name="T110" fmla="*/ 2885 w 3456"/>
                <a:gd name="T111" fmla="*/ 1430 h 3456"/>
                <a:gd name="T112" fmla="*/ 2791 w 3456"/>
                <a:gd name="T113" fmla="*/ 1185 h 3456"/>
                <a:gd name="T114" fmla="*/ 2649 w 3456"/>
                <a:gd name="T115" fmla="*/ 969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56" h="3456">
                  <a:moveTo>
                    <a:pt x="1777" y="338"/>
                  </a:moveTo>
                  <a:lnTo>
                    <a:pt x="1811" y="340"/>
                  </a:lnTo>
                  <a:lnTo>
                    <a:pt x="1845" y="342"/>
                  </a:lnTo>
                  <a:lnTo>
                    <a:pt x="1878" y="346"/>
                  </a:lnTo>
                  <a:lnTo>
                    <a:pt x="1912" y="349"/>
                  </a:lnTo>
                  <a:lnTo>
                    <a:pt x="1945" y="354"/>
                  </a:lnTo>
                  <a:lnTo>
                    <a:pt x="1977" y="360"/>
                  </a:lnTo>
                  <a:lnTo>
                    <a:pt x="2011" y="366"/>
                  </a:lnTo>
                  <a:lnTo>
                    <a:pt x="2043" y="373"/>
                  </a:lnTo>
                  <a:lnTo>
                    <a:pt x="2075" y="381"/>
                  </a:lnTo>
                  <a:lnTo>
                    <a:pt x="2107" y="390"/>
                  </a:lnTo>
                  <a:lnTo>
                    <a:pt x="2138" y="399"/>
                  </a:lnTo>
                  <a:lnTo>
                    <a:pt x="2170" y="409"/>
                  </a:lnTo>
                  <a:lnTo>
                    <a:pt x="2200" y="419"/>
                  </a:lnTo>
                  <a:lnTo>
                    <a:pt x="2230" y="431"/>
                  </a:lnTo>
                  <a:lnTo>
                    <a:pt x="2260" y="443"/>
                  </a:lnTo>
                  <a:lnTo>
                    <a:pt x="2291" y="456"/>
                  </a:lnTo>
                  <a:lnTo>
                    <a:pt x="2320" y="469"/>
                  </a:lnTo>
                  <a:lnTo>
                    <a:pt x="2349" y="484"/>
                  </a:lnTo>
                  <a:lnTo>
                    <a:pt x="2378" y="498"/>
                  </a:lnTo>
                  <a:lnTo>
                    <a:pt x="2406" y="513"/>
                  </a:lnTo>
                  <a:lnTo>
                    <a:pt x="2434" y="529"/>
                  </a:lnTo>
                  <a:lnTo>
                    <a:pt x="2461" y="546"/>
                  </a:lnTo>
                  <a:lnTo>
                    <a:pt x="2488" y="564"/>
                  </a:lnTo>
                  <a:lnTo>
                    <a:pt x="2515" y="581"/>
                  </a:lnTo>
                  <a:lnTo>
                    <a:pt x="2541" y="599"/>
                  </a:lnTo>
                  <a:lnTo>
                    <a:pt x="2567" y="619"/>
                  </a:lnTo>
                  <a:lnTo>
                    <a:pt x="2592" y="638"/>
                  </a:lnTo>
                  <a:lnTo>
                    <a:pt x="2617" y="659"/>
                  </a:lnTo>
                  <a:lnTo>
                    <a:pt x="2642" y="679"/>
                  </a:lnTo>
                  <a:lnTo>
                    <a:pt x="2665" y="701"/>
                  </a:lnTo>
                  <a:lnTo>
                    <a:pt x="2688" y="723"/>
                  </a:lnTo>
                  <a:lnTo>
                    <a:pt x="2711" y="744"/>
                  </a:lnTo>
                  <a:lnTo>
                    <a:pt x="2733" y="768"/>
                  </a:lnTo>
                  <a:lnTo>
                    <a:pt x="2755" y="791"/>
                  </a:lnTo>
                  <a:lnTo>
                    <a:pt x="2777" y="814"/>
                  </a:lnTo>
                  <a:lnTo>
                    <a:pt x="2797" y="839"/>
                  </a:lnTo>
                  <a:lnTo>
                    <a:pt x="2818" y="864"/>
                  </a:lnTo>
                  <a:lnTo>
                    <a:pt x="2837" y="889"/>
                  </a:lnTo>
                  <a:lnTo>
                    <a:pt x="2856" y="915"/>
                  </a:lnTo>
                  <a:lnTo>
                    <a:pt x="2875" y="941"/>
                  </a:lnTo>
                  <a:lnTo>
                    <a:pt x="2892" y="968"/>
                  </a:lnTo>
                  <a:lnTo>
                    <a:pt x="2909" y="995"/>
                  </a:lnTo>
                  <a:lnTo>
                    <a:pt x="2927" y="1022"/>
                  </a:lnTo>
                  <a:lnTo>
                    <a:pt x="2942" y="1050"/>
                  </a:lnTo>
                  <a:lnTo>
                    <a:pt x="2958" y="1078"/>
                  </a:lnTo>
                  <a:lnTo>
                    <a:pt x="2972" y="1107"/>
                  </a:lnTo>
                  <a:lnTo>
                    <a:pt x="2986" y="1136"/>
                  </a:lnTo>
                  <a:lnTo>
                    <a:pt x="3000" y="1165"/>
                  </a:lnTo>
                  <a:lnTo>
                    <a:pt x="3013" y="1196"/>
                  </a:lnTo>
                  <a:lnTo>
                    <a:pt x="3025" y="1226"/>
                  </a:lnTo>
                  <a:lnTo>
                    <a:pt x="3037" y="1256"/>
                  </a:lnTo>
                  <a:lnTo>
                    <a:pt x="3047" y="1286"/>
                  </a:lnTo>
                  <a:lnTo>
                    <a:pt x="3057" y="1318"/>
                  </a:lnTo>
                  <a:lnTo>
                    <a:pt x="3066" y="1349"/>
                  </a:lnTo>
                  <a:lnTo>
                    <a:pt x="3075" y="1381"/>
                  </a:lnTo>
                  <a:lnTo>
                    <a:pt x="3082" y="1413"/>
                  </a:lnTo>
                  <a:lnTo>
                    <a:pt x="3090" y="1445"/>
                  </a:lnTo>
                  <a:lnTo>
                    <a:pt x="3096" y="1479"/>
                  </a:lnTo>
                  <a:lnTo>
                    <a:pt x="3102" y="1511"/>
                  </a:lnTo>
                  <a:lnTo>
                    <a:pt x="3106" y="1544"/>
                  </a:lnTo>
                  <a:lnTo>
                    <a:pt x="3110" y="1578"/>
                  </a:lnTo>
                  <a:lnTo>
                    <a:pt x="3113" y="1611"/>
                  </a:lnTo>
                  <a:lnTo>
                    <a:pt x="3116" y="1645"/>
                  </a:lnTo>
                  <a:lnTo>
                    <a:pt x="3118" y="1679"/>
                  </a:lnTo>
                  <a:lnTo>
                    <a:pt x="3456" y="1679"/>
                  </a:lnTo>
                  <a:lnTo>
                    <a:pt x="3456" y="1778"/>
                  </a:lnTo>
                  <a:lnTo>
                    <a:pt x="3118" y="1778"/>
                  </a:lnTo>
                  <a:lnTo>
                    <a:pt x="3116" y="1811"/>
                  </a:lnTo>
                  <a:lnTo>
                    <a:pt x="3113" y="1846"/>
                  </a:lnTo>
                  <a:lnTo>
                    <a:pt x="3110" y="1879"/>
                  </a:lnTo>
                  <a:lnTo>
                    <a:pt x="3106" y="1913"/>
                  </a:lnTo>
                  <a:lnTo>
                    <a:pt x="3102" y="1945"/>
                  </a:lnTo>
                  <a:lnTo>
                    <a:pt x="3096" y="1979"/>
                  </a:lnTo>
                  <a:lnTo>
                    <a:pt x="3090" y="2011"/>
                  </a:lnTo>
                  <a:lnTo>
                    <a:pt x="3082" y="2043"/>
                  </a:lnTo>
                  <a:lnTo>
                    <a:pt x="3075" y="2076"/>
                  </a:lnTo>
                  <a:lnTo>
                    <a:pt x="3066" y="2107"/>
                  </a:lnTo>
                  <a:lnTo>
                    <a:pt x="3057" y="2138"/>
                  </a:lnTo>
                  <a:lnTo>
                    <a:pt x="3047" y="2170"/>
                  </a:lnTo>
                  <a:lnTo>
                    <a:pt x="3037" y="2201"/>
                  </a:lnTo>
                  <a:lnTo>
                    <a:pt x="3025" y="2231"/>
                  </a:lnTo>
                  <a:lnTo>
                    <a:pt x="3013" y="2262"/>
                  </a:lnTo>
                  <a:lnTo>
                    <a:pt x="3000" y="2291"/>
                  </a:lnTo>
                  <a:lnTo>
                    <a:pt x="2986" y="2320"/>
                  </a:lnTo>
                  <a:lnTo>
                    <a:pt x="2972" y="2349"/>
                  </a:lnTo>
                  <a:lnTo>
                    <a:pt x="2958" y="2378"/>
                  </a:lnTo>
                  <a:lnTo>
                    <a:pt x="2942" y="2406"/>
                  </a:lnTo>
                  <a:lnTo>
                    <a:pt x="2927" y="2434"/>
                  </a:lnTo>
                  <a:lnTo>
                    <a:pt x="2909" y="2461"/>
                  </a:lnTo>
                  <a:lnTo>
                    <a:pt x="2892" y="2488"/>
                  </a:lnTo>
                  <a:lnTo>
                    <a:pt x="2875" y="2515"/>
                  </a:lnTo>
                  <a:lnTo>
                    <a:pt x="2856" y="2541"/>
                  </a:lnTo>
                  <a:lnTo>
                    <a:pt x="2837" y="2567"/>
                  </a:lnTo>
                  <a:lnTo>
                    <a:pt x="2818" y="2593"/>
                  </a:lnTo>
                  <a:lnTo>
                    <a:pt x="2797" y="2617"/>
                  </a:lnTo>
                  <a:lnTo>
                    <a:pt x="2777" y="2642"/>
                  </a:lnTo>
                  <a:lnTo>
                    <a:pt x="2755" y="2665"/>
                  </a:lnTo>
                  <a:lnTo>
                    <a:pt x="2733" y="2689"/>
                  </a:lnTo>
                  <a:lnTo>
                    <a:pt x="2711" y="2712"/>
                  </a:lnTo>
                  <a:lnTo>
                    <a:pt x="2688" y="2735"/>
                  </a:lnTo>
                  <a:lnTo>
                    <a:pt x="2665" y="2756"/>
                  </a:lnTo>
                  <a:lnTo>
                    <a:pt x="2642" y="2777"/>
                  </a:lnTo>
                  <a:lnTo>
                    <a:pt x="2617" y="2798"/>
                  </a:lnTo>
                  <a:lnTo>
                    <a:pt x="2592" y="2818"/>
                  </a:lnTo>
                  <a:lnTo>
                    <a:pt x="2567" y="2837"/>
                  </a:lnTo>
                  <a:lnTo>
                    <a:pt x="2541" y="2857"/>
                  </a:lnTo>
                  <a:lnTo>
                    <a:pt x="2515" y="2875"/>
                  </a:lnTo>
                  <a:lnTo>
                    <a:pt x="2488" y="2893"/>
                  </a:lnTo>
                  <a:lnTo>
                    <a:pt x="2461" y="2911"/>
                  </a:lnTo>
                  <a:lnTo>
                    <a:pt x="2434" y="2927"/>
                  </a:lnTo>
                  <a:lnTo>
                    <a:pt x="2406" y="2943"/>
                  </a:lnTo>
                  <a:lnTo>
                    <a:pt x="2378" y="2958"/>
                  </a:lnTo>
                  <a:lnTo>
                    <a:pt x="2349" y="2973"/>
                  </a:lnTo>
                  <a:lnTo>
                    <a:pt x="2320" y="2987"/>
                  </a:lnTo>
                  <a:lnTo>
                    <a:pt x="2291" y="3000"/>
                  </a:lnTo>
                  <a:lnTo>
                    <a:pt x="2260" y="3013"/>
                  </a:lnTo>
                  <a:lnTo>
                    <a:pt x="2230" y="3025"/>
                  </a:lnTo>
                  <a:lnTo>
                    <a:pt x="2200" y="3037"/>
                  </a:lnTo>
                  <a:lnTo>
                    <a:pt x="2170" y="3048"/>
                  </a:lnTo>
                  <a:lnTo>
                    <a:pt x="2138" y="3057"/>
                  </a:lnTo>
                  <a:lnTo>
                    <a:pt x="2107" y="3067"/>
                  </a:lnTo>
                  <a:lnTo>
                    <a:pt x="2075" y="3076"/>
                  </a:lnTo>
                  <a:lnTo>
                    <a:pt x="2043" y="3083"/>
                  </a:lnTo>
                  <a:lnTo>
                    <a:pt x="2011" y="3090"/>
                  </a:lnTo>
                  <a:lnTo>
                    <a:pt x="1977" y="3096"/>
                  </a:lnTo>
                  <a:lnTo>
                    <a:pt x="1945" y="3102"/>
                  </a:lnTo>
                  <a:lnTo>
                    <a:pt x="1912" y="3107"/>
                  </a:lnTo>
                  <a:lnTo>
                    <a:pt x="1878" y="3111"/>
                  </a:lnTo>
                  <a:lnTo>
                    <a:pt x="1845" y="3115"/>
                  </a:lnTo>
                  <a:lnTo>
                    <a:pt x="1811" y="3117"/>
                  </a:lnTo>
                  <a:lnTo>
                    <a:pt x="1777" y="3118"/>
                  </a:lnTo>
                  <a:lnTo>
                    <a:pt x="1777" y="3456"/>
                  </a:lnTo>
                  <a:lnTo>
                    <a:pt x="1678" y="3456"/>
                  </a:lnTo>
                  <a:lnTo>
                    <a:pt x="1678" y="3118"/>
                  </a:lnTo>
                  <a:lnTo>
                    <a:pt x="1645" y="3117"/>
                  </a:lnTo>
                  <a:lnTo>
                    <a:pt x="1610" y="3115"/>
                  </a:lnTo>
                  <a:lnTo>
                    <a:pt x="1577" y="3111"/>
                  </a:lnTo>
                  <a:lnTo>
                    <a:pt x="1543" y="3107"/>
                  </a:lnTo>
                  <a:lnTo>
                    <a:pt x="1511" y="3102"/>
                  </a:lnTo>
                  <a:lnTo>
                    <a:pt x="1477" y="3096"/>
                  </a:lnTo>
                  <a:lnTo>
                    <a:pt x="1445" y="3090"/>
                  </a:lnTo>
                  <a:lnTo>
                    <a:pt x="1413" y="3083"/>
                  </a:lnTo>
                  <a:lnTo>
                    <a:pt x="1380" y="3076"/>
                  </a:lnTo>
                  <a:lnTo>
                    <a:pt x="1349" y="3067"/>
                  </a:lnTo>
                  <a:lnTo>
                    <a:pt x="1318" y="3057"/>
                  </a:lnTo>
                  <a:lnTo>
                    <a:pt x="1286" y="3048"/>
                  </a:lnTo>
                  <a:lnTo>
                    <a:pt x="1255" y="3037"/>
                  </a:lnTo>
                  <a:lnTo>
                    <a:pt x="1225" y="3025"/>
                  </a:lnTo>
                  <a:lnTo>
                    <a:pt x="1194" y="3013"/>
                  </a:lnTo>
                  <a:lnTo>
                    <a:pt x="1165" y="3000"/>
                  </a:lnTo>
                  <a:lnTo>
                    <a:pt x="1136" y="2987"/>
                  </a:lnTo>
                  <a:lnTo>
                    <a:pt x="1107" y="2973"/>
                  </a:lnTo>
                  <a:lnTo>
                    <a:pt x="1078" y="2958"/>
                  </a:lnTo>
                  <a:lnTo>
                    <a:pt x="1050" y="2943"/>
                  </a:lnTo>
                  <a:lnTo>
                    <a:pt x="1022" y="2927"/>
                  </a:lnTo>
                  <a:lnTo>
                    <a:pt x="995" y="2911"/>
                  </a:lnTo>
                  <a:lnTo>
                    <a:pt x="968" y="2893"/>
                  </a:lnTo>
                  <a:lnTo>
                    <a:pt x="941" y="2875"/>
                  </a:lnTo>
                  <a:lnTo>
                    <a:pt x="915" y="2857"/>
                  </a:lnTo>
                  <a:lnTo>
                    <a:pt x="889" y="2837"/>
                  </a:lnTo>
                  <a:lnTo>
                    <a:pt x="863" y="2818"/>
                  </a:lnTo>
                  <a:lnTo>
                    <a:pt x="839" y="2798"/>
                  </a:lnTo>
                  <a:lnTo>
                    <a:pt x="814" y="2777"/>
                  </a:lnTo>
                  <a:lnTo>
                    <a:pt x="791" y="2756"/>
                  </a:lnTo>
                  <a:lnTo>
                    <a:pt x="767" y="2735"/>
                  </a:lnTo>
                  <a:lnTo>
                    <a:pt x="744" y="2712"/>
                  </a:lnTo>
                  <a:lnTo>
                    <a:pt x="721" y="2689"/>
                  </a:lnTo>
                  <a:lnTo>
                    <a:pt x="700" y="2665"/>
                  </a:lnTo>
                  <a:lnTo>
                    <a:pt x="679" y="2642"/>
                  </a:lnTo>
                  <a:lnTo>
                    <a:pt x="658" y="2617"/>
                  </a:lnTo>
                  <a:lnTo>
                    <a:pt x="638" y="2593"/>
                  </a:lnTo>
                  <a:lnTo>
                    <a:pt x="619" y="2567"/>
                  </a:lnTo>
                  <a:lnTo>
                    <a:pt x="599" y="2541"/>
                  </a:lnTo>
                  <a:lnTo>
                    <a:pt x="581" y="2515"/>
                  </a:lnTo>
                  <a:lnTo>
                    <a:pt x="563" y="2488"/>
                  </a:lnTo>
                  <a:lnTo>
                    <a:pt x="545" y="2461"/>
                  </a:lnTo>
                  <a:lnTo>
                    <a:pt x="529" y="2434"/>
                  </a:lnTo>
                  <a:lnTo>
                    <a:pt x="513" y="2406"/>
                  </a:lnTo>
                  <a:lnTo>
                    <a:pt x="498" y="2378"/>
                  </a:lnTo>
                  <a:lnTo>
                    <a:pt x="483" y="2349"/>
                  </a:lnTo>
                  <a:lnTo>
                    <a:pt x="469" y="2320"/>
                  </a:lnTo>
                  <a:lnTo>
                    <a:pt x="456" y="2291"/>
                  </a:lnTo>
                  <a:lnTo>
                    <a:pt x="443" y="2262"/>
                  </a:lnTo>
                  <a:lnTo>
                    <a:pt x="431" y="2231"/>
                  </a:lnTo>
                  <a:lnTo>
                    <a:pt x="419" y="2201"/>
                  </a:lnTo>
                  <a:lnTo>
                    <a:pt x="408" y="2170"/>
                  </a:lnTo>
                  <a:lnTo>
                    <a:pt x="399" y="2138"/>
                  </a:lnTo>
                  <a:lnTo>
                    <a:pt x="389" y="2107"/>
                  </a:lnTo>
                  <a:lnTo>
                    <a:pt x="380" y="2076"/>
                  </a:lnTo>
                  <a:lnTo>
                    <a:pt x="373" y="2043"/>
                  </a:lnTo>
                  <a:lnTo>
                    <a:pt x="366" y="2011"/>
                  </a:lnTo>
                  <a:lnTo>
                    <a:pt x="360" y="1979"/>
                  </a:lnTo>
                  <a:lnTo>
                    <a:pt x="354" y="1945"/>
                  </a:lnTo>
                  <a:lnTo>
                    <a:pt x="349" y="1913"/>
                  </a:lnTo>
                  <a:lnTo>
                    <a:pt x="345" y="1879"/>
                  </a:lnTo>
                  <a:lnTo>
                    <a:pt x="341" y="1846"/>
                  </a:lnTo>
                  <a:lnTo>
                    <a:pt x="339" y="1811"/>
                  </a:lnTo>
                  <a:lnTo>
                    <a:pt x="338" y="1778"/>
                  </a:lnTo>
                  <a:lnTo>
                    <a:pt x="0" y="1778"/>
                  </a:lnTo>
                  <a:lnTo>
                    <a:pt x="0" y="1679"/>
                  </a:lnTo>
                  <a:lnTo>
                    <a:pt x="338" y="1679"/>
                  </a:lnTo>
                  <a:lnTo>
                    <a:pt x="339" y="1645"/>
                  </a:lnTo>
                  <a:lnTo>
                    <a:pt x="341" y="1611"/>
                  </a:lnTo>
                  <a:lnTo>
                    <a:pt x="345" y="1578"/>
                  </a:lnTo>
                  <a:lnTo>
                    <a:pt x="349" y="1544"/>
                  </a:lnTo>
                  <a:lnTo>
                    <a:pt x="354" y="1511"/>
                  </a:lnTo>
                  <a:lnTo>
                    <a:pt x="360" y="1479"/>
                  </a:lnTo>
                  <a:lnTo>
                    <a:pt x="366" y="1445"/>
                  </a:lnTo>
                  <a:lnTo>
                    <a:pt x="373" y="1413"/>
                  </a:lnTo>
                  <a:lnTo>
                    <a:pt x="380" y="1381"/>
                  </a:lnTo>
                  <a:lnTo>
                    <a:pt x="389" y="1349"/>
                  </a:lnTo>
                  <a:lnTo>
                    <a:pt x="399" y="1318"/>
                  </a:lnTo>
                  <a:lnTo>
                    <a:pt x="408" y="1286"/>
                  </a:lnTo>
                  <a:lnTo>
                    <a:pt x="419" y="1256"/>
                  </a:lnTo>
                  <a:lnTo>
                    <a:pt x="431" y="1226"/>
                  </a:lnTo>
                  <a:lnTo>
                    <a:pt x="443" y="1196"/>
                  </a:lnTo>
                  <a:lnTo>
                    <a:pt x="456" y="1165"/>
                  </a:lnTo>
                  <a:lnTo>
                    <a:pt x="469" y="1136"/>
                  </a:lnTo>
                  <a:lnTo>
                    <a:pt x="483" y="1107"/>
                  </a:lnTo>
                  <a:lnTo>
                    <a:pt x="498" y="1078"/>
                  </a:lnTo>
                  <a:lnTo>
                    <a:pt x="513" y="1050"/>
                  </a:lnTo>
                  <a:lnTo>
                    <a:pt x="529" y="1022"/>
                  </a:lnTo>
                  <a:lnTo>
                    <a:pt x="545" y="995"/>
                  </a:lnTo>
                  <a:lnTo>
                    <a:pt x="563" y="968"/>
                  </a:lnTo>
                  <a:lnTo>
                    <a:pt x="581" y="941"/>
                  </a:lnTo>
                  <a:lnTo>
                    <a:pt x="599" y="915"/>
                  </a:lnTo>
                  <a:lnTo>
                    <a:pt x="619" y="889"/>
                  </a:lnTo>
                  <a:lnTo>
                    <a:pt x="638" y="864"/>
                  </a:lnTo>
                  <a:lnTo>
                    <a:pt x="658" y="839"/>
                  </a:lnTo>
                  <a:lnTo>
                    <a:pt x="679" y="814"/>
                  </a:lnTo>
                  <a:lnTo>
                    <a:pt x="700" y="791"/>
                  </a:lnTo>
                  <a:lnTo>
                    <a:pt x="721" y="768"/>
                  </a:lnTo>
                  <a:lnTo>
                    <a:pt x="744" y="744"/>
                  </a:lnTo>
                  <a:lnTo>
                    <a:pt x="767" y="723"/>
                  </a:lnTo>
                  <a:lnTo>
                    <a:pt x="791" y="701"/>
                  </a:lnTo>
                  <a:lnTo>
                    <a:pt x="814" y="679"/>
                  </a:lnTo>
                  <a:lnTo>
                    <a:pt x="839" y="659"/>
                  </a:lnTo>
                  <a:lnTo>
                    <a:pt x="863" y="638"/>
                  </a:lnTo>
                  <a:lnTo>
                    <a:pt x="889" y="619"/>
                  </a:lnTo>
                  <a:lnTo>
                    <a:pt x="915" y="599"/>
                  </a:lnTo>
                  <a:lnTo>
                    <a:pt x="941" y="581"/>
                  </a:lnTo>
                  <a:lnTo>
                    <a:pt x="968" y="564"/>
                  </a:lnTo>
                  <a:lnTo>
                    <a:pt x="995" y="546"/>
                  </a:lnTo>
                  <a:lnTo>
                    <a:pt x="1022" y="529"/>
                  </a:lnTo>
                  <a:lnTo>
                    <a:pt x="1050" y="513"/>
                  </a:lnTo>
                  <a:lnTo>
                    <a:pt x="1078" y="498"/>
                  </a:lnTo>
                  <a:lnTo>
                    <a:pt x="1107" y="484"/>
                  </a:lnTo>
                  <a:lnTo>
                    <a:pt x="1136" y="469"/>
                  </a:lnTo>
                  <a:lnTo>
                    <a:pt x="1165" y="456"/>
                  </a:lnTo>
                  <a:lnTo>
                    <a:pt x="1194" y="443"/>
                  </a:lnTo>
                  <a:lnTo>
                    <a:pt x="1225" y="431"/>
                  </a:lnTo>
                  <a:lnTo>
                    <a:pt x="1255" y="419"/>
                  </a:lnTo>
                  <a:lnTo>
                    <a:pt x="1286" y="409"/>
                  </a:lnTo>
                  <a:lnTo>
                    <a:pt x="1318" y="399"/>
                  </a:lnTo>
                  <a:lnTo>
                    <a:pt x="1349" y="390"/>
                  </a:lnTo>
                  <a:lnTo>
                    <a:pt x="1380" y="381"/>
                  </a:lnTo>
                  <a:lnTo>
                    <a:pt x="1413" y="373"/>
                  </a:lnTo>
                  <a:lnTo>
                    <a:pt x="1445" y="366"/>
                  </a:lnTo>
                  <a:lnTo>
                    <a:pt x="1477" y="360"/>
                  </a:lnTo>
                  <a:lnTo>
                    <a:pt x="1511" y="354"/>
                  </a:lnTo>
                  <a:lnTo>
                    <a:pt x="1543" y="349"/>
                  </a:lnTo>
                  <a:lnTo>
                    <a:pt x="1577" y="346"/>
                  </a:lnTo>
                  <a:lnTo>
                    <a:pt x="1610" y="342"/>
                  </a:lnTo>
                  <a:lnTo>
                    <a:pt x="1645" y="340"/>
                  </a:lnTo>
                  <a:lnTo>
                    <a:pt x="1678" y="338"/>
                  </a:lnTo>
                  <a:lnTo>
                    <a:pt x="1678" y="0"/>
                  </a:lnTo>
                  <a:lnTo>
                    <a:pt x="1777" y="0"/>
                  </a:lnTo>
                  <a:lnTo>
                    <a:pt x="1777" y="338"/>
                  </a:lnTo>
                  <a:close/>
                  <a:moveTo>
                    <a:pt x="2572" y="883"/>
                  </a:moveTo>
                  <a:lnTo>
                    <a:pt x="2552" y="864"/>
                  </a:lnTo>
                  <a:lnTo>
                    <a:pt x="2530" y="845"/>
                  </a:lnTo>
                  <a:lnTo>
                    <a:pt x="2509" y="825"/>
                  </a:lnTo>
                  <a:lnTo>
                    <a:pt x="2487" y="807"/>
                  </a:lnTo>
                  <a:lnTo>
                    <a:pt x="2464" y="788"/>
                  </a:lnTo>
                  <a:lnTo>
                    <a:pt x="2442" y="771"/>
                  </a:lnTo>
                  <a:lnTo>
                    <a:pt x="2419" y="755"/>
                  </a:lnTo>
                  <a:lnTo>
                    <a:pt x="2395" y="738"/>
                  </a:lnTo>
                  <a:lnTo>
                    <a:pt x="2372" y="723"/>
                  </a:lnTo>
                  <a:lnTo>
                    <a:pt x="2347" y="707"/>
                  </a:lnTo>
                  <a:lnTo>
                    <a:pt x="2322" y="692"/>
                  </a:lnTo>
                  <a:lnTo>
                    <a:pt x="2297" y="678"/>
                  </a:lnTo>
                  <a:lnTo>
                    <a:pt x="2271" y="665"/>
                  </a:lnTo>
                  <a:lnTo>
                    <a:pt x="2245" y="652"/>
                  </a:lnTo>
                  <a:lnTo>
                    <a:pt x="2219" y="639"/>
                  </a:lnTo>
                  <a:lnTo>
                    <a:pt x="2192" y="627"/>
                  </a:lnTo>
                  <a:lnTo>
                    <a:pt x="2165" y="617"/>
                  </a:lnTo>
                  <a:lnTo>
                    <a:pt x="2138" y="607"/>
                  </a:lnTo>
                  <a:lnTo>
                    <a:pt x="2110" y="597"/>
                  </a:lnTo>
                  <a:lnTo>
                    <a:pt x="2083" y="588"/>
                  </a:lnTo>
                  <a:lnTo>
                    <a:pt x="2054" y="580"/>
                  </a:lnTo>
                  <a:lnTo>
                    <a:pt x="2026" y="571"/>
                  </a:lnTo>
                  <a:lnTo>
                    <a:pt x="1997" y="565"/>
                  </a:lnTo>
                  <a:lnTo>
                    <a:pt x="1969" y="558"/>
                  </a:lnTo>
                  <a:lnTo>
                    <a:pt x="1940" y="553"/>
                  </a:lnTo>
                  <a:lnTo>
                    <a:pt x="1909" y="548"/>
                  </a:lnTo>
                  <a:lnTo>
                    <a:pt x="1880" y="544"/>
                  </a:lnTo>
                  <a:lnTo>
                    <a:pt x="1850" y="540"/>
                  </a:lnTo>
                  <a:lnTo>
                    <a:pt x="1820" y="538"/>
                  </a:lnTo>
                  <a:lnTo>
                    <a:pt x="1789" y="536"/>
                  </a:lnTo>
                  <a:lnTo>
                    <a:pt x="1758" y="535"/>
                  </a:lnTo>
                  <a:lnTo>
                    <a:pt x="1728" y="535"/>
                  </a:lnTo>
                  <a:lnTo>
                    <a:pt x="1697" y="535"/>
                  </a:lnTo>
                  <a:lnTo>
                    <a:pt x="1666" y="536"/>
                  </a:lnTo>
                  <a:lnTo>
                    <a:pt x="1636" y="538"/>
                  </a:lnTo>
                  <a:lnTo>
                    <a:pt x="1606" y="540"/>
                  </a:lnTo>
                  <a:lnTo>
                    <a:pt x="1576" y="544"/>
                  </a:lnTo>
                  <a:lnTo>
                    <a:pt x="1545" y="548"/>
                  </a:lnTo>
                  <a:lnTo>
                    <a:pt x="1516" y="553"/>
                  </a:lnTo>
                  <a:lnTo>
                    <a:pt x="1487" y="558"/>
                  </a:lnTo>
                  <a:lnTo>
                    <a:pt x="1458" y="565"/>
                  </a:lnTo>
                  <a:lnTo>
                    <a:pt x="1430" y="571"/>
                  </a:lnTo>
                  <a:lnTo>
                    <a:pt x="1401" y="580"/>
                  </a:lnTo>
                  <a:lnTo>
                    <a:pt x="1373" y="588"/>
                  </a:lnTo>
                  <a:lnTo>
                    <a:pt x="1345" y="597"/>
                  </a:lnTo>
                  <a:lnTo>
                    <a:pt x="1318" y="607"/>
                  </a:lnTo>
                  <a:lnTo>
                    <a:pt x="1289" y="617"/>
                  </a:lnTo>
                  <a:lnTo>
                    <a:pt x="1262" y="627"/>
                  </a:lnTo>
                  <a:lnTo>
                    <a:pt x="1237" y="639"/>
                  </a:lnTo>
                  <a:lnTo>
                    <a:pt x="1210" y="652"/>
                  </a:lnTo>
                  <a:lnTo>
                    <a:pt x="1184" y="665"/>
                  </a:lnTo>
                  <a:lnTo>
                    <a:pt x="1159" y="678"/>
                  </a:lnTo>
                  <a:lnTo>
                    <a:pt x="1134" y="692"/>
                  </a:lnTo>
                  <a:lnTo>
                    <a:pt x="1109" y="707"/>
                  </a:lnTo>
                  <a:lnTo>
                    <a:pt x="1084" y="723"/>
                  </a:lnTo>
                  <a:lnTo>
                    <a:pt x="1061" y="738"/>
                  </a:lnTo>
                  <a:lnTo>
                    <a:pt x="1037" y="755"/>
                  </a:lnTo>
                  <a:lnTo>
                    <a:pt x="1013" y="771"/>
                  </a:lnTo>
                  <a:lnTo>
                    <a:pt x="990" y="788"/>
                  </a:lnTo>
                  <a:lnTo>
                    <a:pt x="969" y="807"/>
                  </a:lnTo>
                  <a:lnTo>
                    <a:pt x="946" y="825"/>
                  </a:lnTo>
                  <a:lnTo>
                    <a:pt x="924" y="845"/>
                  </a:lnTo>
                  <a:lnTo>
                    <a:pt x="904" y="864"/>
                  </a:lnTo>
                  <a:lnTo>
                    <a:pt x="883" y="883"/>
                  </a:lnTo>
                  <a:lnTo>
                    <a:pt x="864" y="904"/>
                  </a:lnTo>
                  <a:lnTo>
                    <a:pt x="843" y="926"/>
                  </a:lnTo>
                  <a:lnTo>
                    <a:pt x="825" y="947"/>
                  </a:lnTo>
                  <a:lnTo>
                    <a:pt x="807" y="969"/>
                  </a:lnTo>
                  <a:lnTo>
                    <a:pt x="788" y="991"/>
                  </a:lnTo>
                  <a:lnTo>
                    <a:pt x="771" y="1014"/>
                  </a:lnTo>
                  <a:lnTo>
                    <a:pt x="754" y="1037"/>
                  </a:lnTo>
                  <a:lnTo>
                    <a:pt x="738" y="1061"/>
                  </a:lnTo>
                  <a:lnTo>
                    <a:pt x="721" y="1084"/>
                  </a:lnTo>
                  <a:lnTo>
                    <a:pt x="706" y="1109"/>
                  </a:lnTo>
                  <a:lnTo>
                    <a:pt x="692" y="1134"/>
                  </a:lnTo>
                  <a:lnTo>
                    <a:pt x="678" y="1159"/>
                  </a:lnTo>
                  <a:lnTo>
                    <a:pt x="664" y="1185"/>
                  </a:lnTo>
                  <a:lnTo>
                    <a:pt x="651" y="1211"/>
                  </a:lnTo>
                  <a:lnTo>
                    <a:pt x="639" y="1237"/>
                  </a:lnTo>
                  <a:lnTo>
                    <a:pt x="627" y="1264"/>
                  </a:lnTo>
                  <a:lnTo>
                    <a:pt x="617" y="1291"/>
                  </a:lnTo>
                  <a:lnTo>
                    <a:pt x="606" y="1318"/>
                  </a:lnTo>
                  <a:lnTo>
                    <a:pt x="596" y="1346"/>
                  </a:lnTo>
                  <a:lnTo>
                    <a:pt x="588" y="1373"/>
                  </a:lnTo>
                  <a:lnTo>
                    <a:pt x="579" y="1402"/>
                  </a:lnTo>
                  <a:lnTo>
                    <a:pt x="571" y="1430"/>
                  </a:lnTo>
                  <a:lnTo>
                    <a:pt x="565" y="1458"/>
                  </a:lnTo>
                  <a:lnTo>
                    <a:pt x="558" y="1487"/>
                  </a:lnTo>
                  <a:lnTo>
                    <a:pt x="553" y="1516"/>
                  </a:lnTo>
                  <a:lnTo>
                    <a:pt x="548" y="1547"/>
                  </a:lnTo>
                  <a:lnTo>
                    <a:pt x="543" y="1576"/>
                  </a:lnTo>
                  <a:lnTo>
                    <a:pt x="540" y="1606"/>
                  </a:lnTo>
                  <a:lnTo>
                    <a:pt x="537" y="1636"/>
                  </a:lnTo>
                  <a:lnTo>
                    <a:pt x="536" y="1666"/>
                  </a:lnTo>
                  <a:lnTo>
                    <a:pt x="535" y="1698"/>
                  </a:lnTo>
                  <a:lnTo>
                    <a:pt x="534" y="1728"/>
                  </a:lnTo>
                  <a:lnTo>
                    <a:pt x="535" y="1759"/>
                  </a:lnTo>
                  <a:lnTo>
                    <a:pt x="536" y="1790"/>
                  </a:lnTo>
                  <a:lnTo>
                    <a:pt x="537" y="1820"/>
                  </a:lnTo>
                  <a:lnTo>
                    <a:pt x="540" y="1850"/>
                  </a:lnTo>
                  <a:lnTo>
                    <a:pt x="543" y="1880"/>
                  </a:lnTo>
                  <a:lnTo>
                    <a:pt x="548" y="1911"/>
                  </a:lnTo>
                  <a:lnTo>
                    <a:pt x="553" y="1940"/>
                  </a:lnTo>
                  <a:lnTo>
                    <a:pt x="558" y="1969"/>
                  </a:lnTo>
                  <a:lnTo>
                    <a:pt x="565" y="1998"/>
                  </a:lnTo>
                  <a:lnTo>
                    <a:pt x="571" y="2026"/>
                  </a:lnTo>
                  <a:lnTo>
                    <a:pt x="579" y="2055"/>
                  </a:lnTo>
                  <a:lnTo>
                    <a:pt x="588" y="2083"/>
                  </a:lnTo>
                  <a:lnTo>
                    <a:pt x="596" y="2111"/>
                  </a:lnTo>
                  <a:lnTo>
                    <a:pt x="606" y="2138"/>
                  </a:lnTo>
                  <a:lnTo>
                    <a:pt x="617" y="2166"/>
                  </a:lnTo>
                  <a:lnTo>
                    <a:pt x="627" y="2193"/>
                  </a:lnTo>
                  <a:lnTo>
                    <a:pt x="639" y="2219"/>
                  </a:lnTo>
                  <a:lnTo>
                    <a:pt x="651" y="2245"/>
                  </a:lnTo>
                  <a:lnTo>
                    <a:pt x="664" y="2271"/>
                  </a:lnTo>
                  <a:lnTo>
                    <a:pt x="678" y="2297"/>
                  </a:lnTo>
                  <a:lnTo>
                    <a:pt x="692" y="2322"/>
                  </a:lnTo>
                  <a:lnTo>
                    <a:pt x="706" y="2347"/>
                  </a:lnTo>
                  <a:lnTo>
                    <a:pt x="721" y="2372"/>
                  </a:lnTo>
                  <a:lnTo>
                    <a:pt x="738" y="2395"/>
                  </a:lnTo>
                  <a:lnTo>
                    <a:pt x="754" y="2419"/>
                  </a:lnTo>
                  <a:lnTo>
                    <a:pt x="771" y="2443"/>
                  </a:lnTo>
                  <a:lnTo>
                    <a:pt x="788" y="2466"/>
                  </a:lnTo>
                  <a:lnTo>
                    <a:pt x="807" y="2487"/>
                  </a:lnTo>
                  <a:lnTo>
                    <a:pt x="825" y="2510"/>
                  </a:lnTo>
                  <a:lnTo>
                    <a:pt x="843" y="2532"/>
                  </a:lnTo>
                  <a:lnTo>
                    <a:pt x="864" y="2552"/>
                  </a:lnTo>
                  <a:lnTo>
                    <a:pt x="883" y="2573"/>
                  </a:lnTo>
                  <a:lnTo>
                    <a:pt x="904" y="2592"/>
                  </a:lnTo>
                  <a:lnTo>
                    <a:pt x="924" y="2613"/>
                  </a:lnTo>
                  <a:lnTo>
                    <a:pt x="946" y="2631"/>
                  </a:lnTo>
                  <a:lnTo>
                    <a:pt x="969" y="2649"/>
                  </a:lnTo>
                  <a:lnTo>
                    <a:pt x="990" y="2668"/>
                  </a:lnTo>
                  <a:lnTo>
                    <a:pt x="1013" y="2685"/>
                  </a:lnTo>
                  <a:lnTo>
                    <a:pt x="1037" y="2702"/>
                  </a:lnTo>
                  <a:lnTo>
                    <a:pt x="1061" y="2718"/>
                  </a:lnTo>
                  <a:lnTo>
                    <a:pt x="1084" y="2735"/>
                  </a:lnTo>
                  <a:lnTo>
                    <a:pt x="1109" y="2750"/>
                  </a:lnTo>
                  <a:lnTo>
                    <a:pt x="1134" y="2764"/>
                  </a:lnTo>
                  <a:lnTo>
                    <a:pt x="1159" y="2778"/>
                  </a:lnTo>
                  <a:lnTo>
                    <a:pt x="1184" y="2792"/>
                  </a:lnTo>
                  <a:lnTo>
                    <a:pt x="1210" y="2805"/>
                  </a:lnTo>
                  <a:lnTo>
                    <a:pt x="1237" y="2817"/>
                  </a:lnTo>
                  <a:lnTo>
                    <a:pt x="1262" y="2829"/>
                  </a:lnTo>
                  <a:lnTo>
                    <a:pt x="1289" y="2839"/>
                  </a:lnTo>
                  <a:lnTo>
                    <a:pt x="1318" y="2850"/>
                  </a:lnTo>
                  <a:lnTo>
                    <a:pt x="1345" y="2860"/>
                  </a:lnTo>
                  <a:lnTo>
                    <a:pt x="1373" y="2868"/>
                  </a:lnTo>
                  <a:lnTo>
                    <a:pt x="1401" y="2877"/>
                  </a:lnTo>
                  <a:lnTo>
                    <a:pt x="1430" y="2885"/>
                  </a:lnTo>
                  <a:lnTo>
                    <a:pt x="1458" y="2891"/>
                  </a:lnTo>
                  <a:lnTo>
                    <a:pt x="1487" y="2898"/>
                  </a:lnTo>
                  <a:lnTo>
                    <a:pt x="1516" y="2903"/>
                  </a:lnTo>
                  <a:lnTo>
                    <a:pt x="1545" y="2908"/>
                  </a:lnTo>
                  <a:lnTo>
                    <a:pt x="1576" y="2913"/>
                  </a:lnTo>
                  <a:lnTo>
                    <a:pt x="1606" y="2916"/>
                  </a:lnTo>
                  <a:lnTo>
                    <a:pt x="1636" y="2919"/>
                  </a:lnTo>
                  <a:lnTo>
                    <a:pt x="1666" y="2920"/>
                  </a:lnTo>
                  <a:lnTo>
                    <a:pt x="1697" y="2921"/>
                  </a:lnTo>
                  <a:lnTo>
                    <a:pt x="1728" y="2922"/>
                  </a:lnTo>
                  <a:lnTo>
                    <a:pt x="1758" y="2921"/>
                  </a:lnTo>
                  <a:lnTo>
                    <a:pt x="1789" y="2920"/>
                  </a:lnTo>
                  <a:lnTo>
                    <a:pt x="1820" y="2919"/>
                  </a:lnTo>
                  <a:lnTo>
                    <a:pt x="1850" y="2916"/>
                  </a:lnTo>
                  <a:lnTo>
                    <a:pt x="1880" y="2913"/>
                  </a:lnTo>
                  <a:lnTo>
                    <a:pt x="1909" y="2908"/>
                  </a:lnTo>
                  <a:lnTo>
                    <a:pt x="1940" y="2903"/>
                  </a:lnTo>
                  <a:lnTo>
                    <a:pt x="1969" y="2898"/>
                  </a:lnTo>
                  <a:lnTo>
                    <a:pt x="1997" y="2891"/>
                  </a:lnTo>
                  <a:lnTo>
                    <a:pt x="2026" y="2885"/>
                  </a:lnTo>
                  <a:lnTo>
                    <a:pt x="2054" y="2877"/>
                  </a:lnTo>
                  <a:lnTo>
                    <a:pt x="2083" y="2868"/>
                  </a:lnTo>
                  <a:lnTo>
                    <a:pt x="2110" y="2860"/>
                  </a:lnTo>
                  <a:lnTo>
                    <a:pt x="2138" y="2850"/>
                  </a:lnTo>
                  <a:lnTo>
                    <a:pt x="2165" y="2839"/>
                  </a:lnTo>
                  <a:lnTo>
                    <a:pt x="2192" y="2829"/>
                  </a:lnTo>
                  <a:lnTo>
                    <a:pt x="2219" y="2817"/>
                  </a:lnTo>
                  <a:lnTo>
                    <a:pt x="2245" y="2805"/>
                  </a:lnTo>
                  <a:lnTo>
                    <a:pt x="2271" y="2792"/>
                  </a:lnTo>
                  <a:lnTo>
                    <a:pt x="2297" y="2778"/>
                  </a:lnTo>
                  <a:lnTo>
                    <a:pt x="2322" y="2764"/>
                  </a:lnTo>
                  <a:lnTo>
                    <a:pt x="2347" y="2750"/>
                  </a:lnTo>
                  <a:lnTo>
                    <a:pt x="2372" y="2735"/>
                  </a:lnTo>
                  <a:lnTo>
                    <a:pt x="2395" y="2718"/>
                  </a:lnTo>
                  <a:lnTo>
                    <a:pt x="2419" y="2702"/>
                  </a:lnTo>
                  <a:lnTo>
                    <a:pt x="2442" y="2685"/>
                  </a:lnTo>
                  <a:lnTo>
                    <a:pt x="2464" y="2668"/>
                  </a:lnTo>
                  <a:lnTo>
                    <a:pt x="2487" y="2649"/>
                  </a:lnTo>
                  <a:lnTo>
                    <a:pt x="2509" y="2631"/>
                  </a:lnTo>
                  <a:lnTo>
                    <a:pt x="2530" y="2613"/>
                  </a:lnTo>
                  <a:lnTo>
                    <a:pt x="2552" y="2592"/>
                  </a:lnTo>
                  <a:lnTo>
                    <a:pt x="2572" y="2573"/>
                  </a:lnTo>
                  <a:lnTo>
                    <a:pt x="2592" y="2552"/>
                  </a:lnTo>
                  <a:lnTo>
                    <a:pt x="2611" y="2532"/>
                  </a:lnTo>
                  <a:lnTo>
                    <a:pt x="2631" y="2510"/>
                  </a:lnTo>
                  <a:lnTo>
                    <a:pt x="2649" y="2487"/>
                  </a:lnTo>
                  <a:lnTo>
                    <a:pt x="2667" y="2466"/>
                  </a:lnTo>
                  <a:lnTo>
                    <a:pt x="2685" y="2443"/>
                  </a:lnTo>
                  <a:lnTo>
                    <a:pt x="2701" y="2419"/>
                  </a:lnTo>
                  <a:lnTo>
                    <a:pt x="2718" y="2395"/>
                  </a:lnTo>
                  <a:lnTo>
                    <a:pt x="2733" y="2372"/>
                  </a:lnTo>
                  <a:lnTo>
                    <a:pt x="2748" y="2347"/>
                  </a:lnTo>
                  <a:lnTo>
                    <a:pt x="2764" y="2322"/>
                  </a:lnTo>
                  <a:lnTo>
                    <a:pt x="2778" y="2297"/>
                  </a:lnTo>
                  <a:lnTo>
                    <a:pt x="2791" y="2271"/>
                  </a:lnTo>
                  <a:lnTo>
                    <a:pt x="2804" y="2245"/>
                  </a:lnTo>
                  <a:lnTo>
                    <a:pt x="2816" y="2219"/>
                  </a:lnTo>
                  <a:lnTo>
                    <a:pt x="2827" y="2193"/>
                  </a:lnTo>
                  <a:lnTo>
                    <a:pt x="2839" y="2166"/>
                  </a:lnTo>
                  <a:lnTo>
                    <a:pt x="2849" y="2138"/>
                  </a:lnTo>
                  <a:lnTo>
                    <a:pt x="2859" y="2111"/>
                  </a:lnTo>
                  <a:lnTo>
                    <a:pt x="2868" y="2083"/>
                  </a:lnTo>
                  <a:lnTo>
                    <a:pt x="2876" y="2055"/>
                  </a:lnTo>
                  <a:lnTo>
                    <a:pt x="2885" y="2026"/>
                  </a:lnTo>
                  <a:lnTo>
                    <a:pt x="2891" y="1998"/>
                  </a:lnTo>
                  <a:lnTo>
                    <a:pt x="2897" y="1969"/>
                  </a:lnTo>
                  <a:lnTo>
                    <a:pt x="2903" y="1940"/>
                  </a:lnTo>
                  <a:lnTo>
                    <a:pt x="2908" y="1911"/>
                  </a:lnTo>
                  <a:lnTo>
                    <a:pt x="2912" y="1880"/>
                  </a:lnTo>
                  <a:lnTo>
                    <a:pt x="2916" y="1850"/>
                  </a:lnTo>
                  <a:lnTo>
                    <a:pt x="2918" y="1820"/>
                  </a:lnTo>
                  <a:lnTo>
                    <a:pt x="2920" y="1790"/>
                  </a:lnTo>
                  <a:lnTo>
                    <a:pt x="2921" y="1759"/>
                  </a:lnTo>
                  <a:lnTo>
                    <a:pt x="2921" y="1728"/>
                  </a:lnTo>
                  <a:lnTo>
                    <a:pt x="2921" y="1698"/>
                  </a:lnTo>
                  <a:lnTo>
                    <a:pt x="2920" y="1666"/>
                  </a:lnTo>
                  <a:lnTo>
                    <a:pt x="2918" y="1636"/>
                  </a:lnTo>
                  <a:lnTo>
                    <a:pt x="2916" y="1606"/>
                  </a:lnTo>
                  <a:lnTo>
                    <a:pt x="2912" y="1576"/>
                  </a:lnTo>
                  <a:lnTo>
                    <a:pt x="2908" y="1547"/>
                  </a:lnTo>
                  <a:lnTo>
                    <a:pt x="2903" y="1516"/>
                  </a:lnTo>
                  <a:lnTo>
                    <a:pt x="2897" y="1487"/>
                  </a:lnTo>
                  <a:lnTo>
                    <a:pt x="2891" y="1458"/>
                  </a:lnTo>
                  <a:lnTo>
                    <a:pt x="2885" y="1430"/>
                  </a:lnTo>
                  <a:lnTo>
                    <a:pt x="2876" y="1402"/>
                  </a:lnTo>
                  <a:lnTo>
                    <a:pt x="2868" y="1373"/>
                  </a:lnTo>
                  <a:lnTo>
                    <a:pt x="2859" y="1346"/>
                  </a:lnTo>
                  <a:lnTo>
                    <a:pt x="2849" y="1318"/>
                  </a:lnTo>
                  <a:lnTo>
                    <a:pt x="2839" y="1291"/>
                  </a:lnTo>
                  <a:lnTo>
                    <a:pt x="2827" y="1264"/>
                  </a:lnTo>
                  <a:lnTo>
                    <a:pt x="2816" y="1237"/>
                  </a:lnTo>
                  <a:lnTo>
                    <a:pt x="2804" y="1211"/>
                  </a:lnTo>
                  <a:lnTo>
                    <a:pt x="2791" y="1185"/>
                  </a:lnTo>
                  <a:lnTo>
                    <a:pt x="2778" y="1159"/>
                  </a:lnTo>
                  <a:lnTo>
                    <a:pt x="2764" y="1134"/>
                  </a:lnTo>
                  <a:lnTo>
                    <a:pt x="2748" y="1109"/>
                  </a:lnTo>
                  <a:lnTo>
                    <a:pt x="2733" y="1084"/>
                  </a:lnTo>
                  <a:lnTo>
                    <a:pt x="2718" y="1061"/>
                  </a:lnTo>
                  <a:lnTo>
                    <a:pt x="2701" y="1037"/>
                  </a:lnTo>
                  <a:lnTo>
                    <a:pt x="2685" y="1014"/>
                  </a:lnTo>
                  <a:lnTo>
                    <a:pt x="2667" y="991"/>
                  </a:lnTo>
                  <a:lnTo>
                    <a:pt x="2649" y="969"/>
                  </a:lnTo>
                  <a:lnTo>
                    <a:pt x="2631" y="947"/>
                  </a:lnTo>
                  <a:lnTo>
                    <a:pt x="2611" y="926"/>
                  </a:lnTo>
                  <a:lnTo>
                    <a:pt x="2592" y="904"/>
                  </a:lnTo>
                  <a:lnTo>
                    <a:pt x="2572" y="88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9"/>
            <p:cNvSpPr>
              <a:spLocks noEditPoints="1"/>
            </p:cNvSpPr>
            <p:nvPr/>
          </p:nvSpPr>
          <p:spPr bwMode="auto">
            <a:xfrm>
              <a:off x="3607913" y="2607358"/>
              <a:ext cx="866775" cy="866775"/>
            </a:xfrm>
            <a:custGeom>
              <a:avLst/>
              <a:gdLst>
                <a:gd name="T0" fmla="*/ 952 w 1727"/>
                <a:gd name="T1" fmla="*/ 4 h 1727"/>
                <a:gd name="T2" fmla="*/ 1080 w 1727"/>
                <a:gd name="T3" fmla="*/ 27 h 1727"/>
                <a:gd name="T4" fmla="*/ 1275 w 1727"/>
                <a:gd name="T5" fmla="*/ 104 h 1727"/>
                <a:gd name="T6" fmla="*/ 1444 w 1727"/>
                <a:gd name="T7" fmla="*/ 224 h 1727"/>
                <a:gd name="T8" fmla="*/ 1580 w 1727"/>
                <a:gd name="T9" fmla="*/ 380 h 1727"/>
                <a:gd name="T10" fmla="*/ 1675 w 1727"/>
                <a:gd name="T11" fmla="*/ 566 h 1727"/>
                <a:gd name="T12" fmla="*/ 1717 w 1727"/>
                <a:gd name="T13" fmla="*/ 731 h 1727"/>
                <a:gd name="T14" fmla="*/ 1727 w 1727"/>
                <a:gd name="T15" fmla="*/ 841 h 1727"/>
                <a:gd name="T16" fmla="*/ 1722 w 1727"/>
                <a:gd name="T17" fmla="*/ 952 h 1727"/>
                <a:gd name="T18" fmla="*/ 1700 w 1727"/>
                <a:gd name="T19" fmla="*/ 1079 h 1727"/>
                <a:gd name="T20" fmla="*/ 1623 w 1727"/>
                <a:gd name="T21" fmla="*/ 1274 h 1727"/>
                <a:gd name="T22" fmla="*/ 1503 w 1727"/>
                <a:gd name="T23" fmla="*/ 1444 h 1727"/>
                <a:gd name="T24" fmla="*/ 1347 w 1727"/>
                <a:gd name="T25" fmla="*/ 1579 h 1727"/>
                <a:gd name="T26" fmla="*/ 1161 w 1727"/>
                <a:gd name="T27" fmla="*/ 1674 h 1727"/>
                <a:gd name="T28" fmla="*/ 996 w 1727"/>
                <a:gd name="T29" fmla="*/ 1716 h 1727"/>
                <a:gd name="T30" fmla="*/ 886 w 1727"/>
                <a:gd name="T31" fmla="*/ 1726 h 1727"/>
                <a:gd name="T32" fmla="*/ 775 w 1727"/>
                <a:gd name="T33" fmla="*/ 1722 h 1727"/>
                <a:gd name="T34" fmla="*/ 648 w 1727"/>
                <a:gd name="T35" fmla="*/ 1699 h 1727"/>
                <a:gd name="T36" fmla="*/ 452 w 1727"/>
                <a:gd name="T37" fmla="*/ 1622 h 1727"/>
                <a:gd name="T38" fmla="*/ 283 w 1727"/>
                <a:gd name="T39" fmla="*/ 1502 h 1727"/>
                <a:gd name="T40" fmla="*/ 148 w 1727"/>
                <a:gd name="T41" fmla="*/ 1346 h 1727"/>
                <a:gd name="T42" fmla="*/ 53 w 1727"/>
                <a:gd name="T43" fmla="*/ 1160 h 1727"/>
                <a:gd name="T44" fmla="*/ 11 w 1727"/>
                <a:gd name="T45" fmla="*/ 995 h 1727"/>
                <a:gd name="T46" fmla="*/ 1 w 1727"/>
                <a:gd name="T47" fmla="*/ 886 h 1727"/>
                <a:gd name="T48" fmla="*/ 5 w 1727"/>
                <a:gd name="T49" fmla="*/ 774 h 1727"/>
                <a:gd name="T50" fmla="*/ 28 w 1727"/>
                <a:gd name="T51" fmla="*/ 647 h 1727"/>
                <a:gd name="T52" fmla="*/ 105 w 1727"/>
                <a:gd name="T53" fmla="*/ 452 h 1727"/>
                <a:gd name="T54" fmla="*/ 225 w 1727"/>
                <a:gd name="T55" fmla="*/ 283 h 1727"/>
                <a:gd name="T56" fmla="*/ 381 w 1727"/>
                <a:gd name="T57" fmla="*/ 147 h 1727"/>
                <a:gd name="T58" fmla="*/ 567 w 1727"/>
                <a:gd name="T59" fmla="*/ 52 h 1727"/>
                <a:gd name="T60" fmla="*/ 732 w 1727"/>
                <a:gd name="T61" fmla="*/ 10 h 1727"/>
                <a:gd name="T62" fmla="*/ 841 w 1727"/>
                <a:gd name="T63" fmla="*/ 0 h 1727"/>
                <a:gd name="T64" fmla="*/ 1262 w 1727"/>
                <a:gd name="T65" fmla="*/ 329 h 1727"/>
                <a:gd name="T66" fmla="*/ 1123 w 1727"/>
                <a:gd name="T67" fmla="*/ 250 h 1727"/>
                <a:gd name="T68" fmla="*/ 965 w 1727"/>
                <a:gd name="T69" fmla="*/ 204 h 1727"/>
                <a:gd name="T70" fmla="*/ 796 w 1727"/>
                <a:gd name="T71" fmla="*/ 200 h 1727"/>
                <a:gd name="T72" fmla="*/ 635 w 1727"/>
                <a:gd name="T73" fmla="*/ 238 h 1727"/>
                <a:gd name="T74" fmla="*/ 491 w 1727"/>
                <a:gd name="T75" fmla="*/ 310 h 1727"/>
                <a:gd name="T76" fmla="*/ 370 w 1727"/>
                <a:gd name="T77" fmla="*/ 415 h 1727"/>
                <a:gd name="T78" fmla="*/ 278 w 1727"/>
                <a:gd name="T79" fmla="*/ 545 h 1727"/>
                <a:gd name="T80" fmla="*/ 218 w 1727"/>
                <a:gd name="T81" fmla="*/ 697 h 1727"/>
                <a:gd name="T82" fmla="*/ 198 w 1727"/>
                <a:gd name="T83" fmla="*/ 863 h 1727"/>
                <a:gd name="T84" fmla="*/ 218 w 1727"/>
                <a:gd name="T85" fmla="*/ 1029 h 1727"/>
                <a:gd name="T86" fmla="*/ 278 w 1727"/>
                <a:gd name="T87" fmla="*/ 1181 h 1727"/>
                <a:gd name="T88" fmla="*/ 370 w 1727"/>
                <a:gd name="T89" fmla="*/ 1311 h 1727"/>
                <a:gd name="T90" fmla="*/ 491 w 1727"/>
                <a:gd name="T91" fmla="*/ 1416 h 1727"/>
                <a:gd name="T92" fmla="*/ 635 w 1727"/>
                <a:gd name="T93" fmla="*/ 1489 h 1727"/>
                <a:gd name="T94" fmla="*/ 796 w 1727"/>
                <a:gd name="T95" fmla="*/ 1526 h 1727"/>
                <a:gd name="T96" fmla="*/ 965 w 1727"/>
                <a:gd name="T97" fmla="*/ 1522 h 1727"/>
                <a:gd name="T98" fmla="*/ 1123 w 1727"/>
                <a:gd name="T99" fmla="*/ 1478 h 1727"/>
                <a:gd name="T100" fmla="*/ 1262 w 1727"/>
                <a:gd name="T101" fmla="*/ 1398 h 1727"/>
                <a:gd name="T102" fmla="*/ 1378 w 1727"/>
                <a:gd name="T103" fmla="*/ 1287 h 1727"/>
                <a:gd name="T104" fmla="*/ 1464 w 1727"/>
                <a:gd name="T105" fmla="*/ 1152 h 1727"/>
                <a:gd name="T106" fmla="*/ 1516 w 1727"/>
                <a:gd name="T107" fmla="*/ 998 h 1727"/>
                <a:gd name="T108" fmla="*/ 1529 w 1727"/>
                <a:gd name="T109" fmla="*/ 828 h 1727"/>
                <a:gd name="T110" fmla="*/ 1500 w 1727"/>
                <a:gd name="T111" fmla="*/ 665 h 1727"/>
                <a:gd name="T112" fmla="*/ 1434 w 1727"/>
                <a:gd name="T113" fmla="*/ 517 h 1727"/>
                <a:gd name="T114" fmla="*/ 1335 w 1727"/>
                <a:gd name="T115" fmla="*/ 392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7" h="1727">
                  <a:moveTo>
                    <a:pt x="864" y="0"/>
                  </a:moveTo>
                  <a:lnTo>
                    <a:pt x="886" y="0"/>
                  </a:lnTo>
                  <a:lnTo>
                    <a:pt x="908" y="1"/>
                  </a:lnTo>
                  <a:lnTo>
                    <a:pt x="930" y="2"/>
                  </a:lnTo>
                  <a:lnTo>
                    <a:pt x="952" y="4"/>
                  </a:lnTo>
                  <a:lnTo>
                    <a:pt x="974" y="7"/>
                  </a:lnTo>
                  <a:lnTo>
                    <a:pt x="996" y="10"/>
                  </a:lnTo>
                  <a:lnTo>
                    <a:pt x="1016" y="13"/>
                  </a:lnTo>
                  <a:lnTo>
                    <a:pt x="1038" y="17"/>
                  </a:lnTo>
                  <a:lnTo>
                    <a:pt x="1080" y="27"/>
                  </a:lnTo>
                  <a:lnTo>
                    <a:pt x="1121" y="39"/>
                  </a:lnTo>
                  <a:lnTo>
                    <a:pt x="1161" y="52"/>
                  </a:lnTo>
                  <a:lnTo>
                    <a:pt x="1200" y="68"/>
                  </a:lnTo>
                  <a:lnTo>
                    <a:pt x="1238" y="85"/>
                  </a:lnTo>
                  <a:lnTo>
                    <a:pt x="1275" y="104"/>
                  </a:lnTo>
                  <a:lnTo>
                    <a:pt x="1311" y="124"/>
                  </a:lnTo>
                  <a:lnTo>
                    <a:pt x="1347" y="147"/>
                  </a:lnTo>
                  <a:lnTo>
                    <a:pt x="1380" y="172"/>
                  </a:lnTo>
                  <a:lnTo>
                    <a:pt x="1413" y="197"/>
                  </a:lnTo>
                  <a:lnTo>
                    <a:pt x="1444" y="224"/>
                  </a:lnTo>
                  <a:lnTo>
                    <a:pt x="1474" y="253"/>
                  </a:lnTo>
                  <a:lnTo>
                    <a:pt x="1503" y="283"/>
                  </a:lnTo>
                  <a:lnTo>
                    <a:pt x="1530" y="314"/>
                  </a:lnTo>
                  <a:lnTo>
                    <a:pt x="1555" y="347"/>
                  </a:lnTo>
                  <a:lnTo>
                    <a:pt x="1580" y="380"/>
                  </a:lnTo>
                  <a:lnTo>
                    <a:pt x="1602" y="416"/>
                  </a:lnTo>
                  <a:lnTo>
                    <a:pt x="1623" y="452"/>
                  </a:lnTo>
                  <a:lnTo>
                    <a:pt x="1641" y="489"/>
                  </a:lnTo>
                  <a:lnTo>
                    <a:pt x="1659" y="527"/>
                  </a:lnTo>
                  <a:lnTo>
                    <a:pt x="1675" y="566"/>
                  </a:lnTo>
                  <a:lnTo>
                    <a:pt x="1688" y="606"/>
                  </a:lnTo>
                  <a:lnTo>
                    <a:pt x="1700" y="647"/>
                  </a:lnTo>
                  <a:lnTo>
                    <a:pt x="1710" y="689"/>
                  </a:lnTo>
                  <a:lnTo>
                    <a:pt x="1714" y="711"/>
                  </a:lnTo>
                  <a:lnTo>
                    <a:pt x="1717" y="731"/>
                  </a:lnTo>
                  <a:lnTo>
                    <a:pt x="1720" y="753"/>
                  </a:lnTo>
                  <a:lnTo>
                    <a:pt x="1722" y="774"/>
                  </a:lnTo>
                  <a:lnTo>
                    <a:pt x="1725" y="797"/>
                  </a:lnTo>
                  <a:lnTo>
                    <a:pt x="1726" y="819"/>
                  </a:lnTo>
                  <a:lnTo>
                    <a:pt x="1727" y="841"/>
                  </a:lnTo>
                  <a:lnTo>
                    <a:pt x="1727" y="863"/>
                  </a:lnTo>
                  <a:lnTo>
                    <a:pt x="1727" y="886"/>
                  </a:lnTo>
                  <a:lnTo>
                    <a:pt x="1726" y="907"/>
                  </a:lnTo>
                  <a:lnTo>
                    <a:pt x="1725" y="930"/>
                  </a:lnTo>
                  <a:lnTo>
                    <a:pt x="1722" y="952"/>
                  </a:lnTo>
                  <a:lnTo>
                    <a:pt x="1720" y="973"/>
                  </a:lnTo>
                  <a:lnTo>
                    <a:pt x="1717" y="995"/>
                  </a:lnTo>
                  <a:lnTo>
                    <a:pt x="1714" y="1016"/>
                  </a:lnTo>
                  <a:lnTo>
                    <a:pt x="1710" y="1037"/>
                  </a:lnTo>
                  <a:lnTo>
                    <a:pt x="1700" y="1079"/>
                  </a:lnTo>
                  <a:lnTo>
                    <a:pt x="1688" y="1120"/>
                  </a:lnTo>
                  <a:lnTo>
                    <a:pt x="1675" y="1160"/>
                  </a:lnTo>
                  <a:lnTo>
                    <a:pt x="1659" y="1199"/>
                  </a:lnTo>
                  <a:lnTo>
                    <a:pt x="1641" y="1238"/>
                  </a:lnTo>
                  <a:lnTo>
                    <a:pt x="1623" y="1274"/>
                  </a:lnTo>
                  <a:lnTo>
                    <a:pt x="1602" y="1311"/>
                  </a:lnTo>
                  <a:lnTo>
                    <a:pt x="1580" y="1346"/>
                  </a:lnTo>
                  <a:lnTo>
                    <a:pt x="1555" y="1379"/>
                  </a:lnTo>
                  <a:lnTo>
                    <a:pt x="1530" y="1413"/>
                  </a:lnTo>
                  <a:lnTo>
                    <a:pt x="1503" y="1444"/>
                  </a:lnTo>
                  <a:lnTo>
                    <a:pt x="1474" y="1473"/>
                  </a:lnTo>
                  <a:lnTo>
                    <a:pt x="1444" y="1502"/>
                  </a:lnTo>
                  <a:lnTo>
                    <a:pt x="1413" y="1529"/>
                  </a:lnTo>
                  <a:lnTo>
                    <a:pt x="1380" y="1555"/>
                  </a:lnTo>
                  <a:lnTo>
                    <a:pt x="1347" y="1579"/>
                  </a:lnTo>
                  <a:lnTo>
                    <a:pt x="1311" y="1602"/>
                  </a:lnTo>
                  <a:lnTo>
                    <a:pt x="1275" y="1622"/>
                  </a:lnTo>
                  <a:lnTo>
                    <a:pt x="1238" y="1642"/>
                  </a:lnTo>
                  <a:lnTo>
                    <a:pt x="1200" y="1659"/>
                  </a:lnTo>
                  <a:lnTo>
                    <a:pt x="1161" y="1674"/>
                  </a:lnTo>
                  <a:lnTo>
                    <a:pt x="1121" y="1688"/>
                  </a:lnTo>
                  <a:lnTo>
                    <a:pt x="1080" y="1699"/>
                  </a:lnTo>
                  <a:lnTo>
                    <a:pt x="1038" y="1709"/>
                  </a:lnTo>
                  <a:lnTo>
                    <a:pt x="1016" y="1713"/>
                  </a:lnTo>
                  <a:lnTo>
                    <a:pt x="996" y="1716"/>
                  </a:lnTo>
                  <a:lnTo>
                    <a:pt x="974" y="1719"/>
                  </a:lnTo>
                  <a:lnTo>
                    <a:pt x="952" y="1722"/>
                  </a:lnTo>
                  <a:lnTo>
                    <a:pt x="930" y="1724"/>
                  </a:lnTo>
                  <a:lnTo>
                    <a:pt x="908" y="1726"/>
                  </a:lnTo>
                  <a:lnTo>
                    <a:pt x="886" y="1726"/>
                  </a:lnTo>
                  <a:lnTo>
                    <a:pt x="864" y="1727"/>
                  </a:lnTo>
                  <a:lnTo>
                    <a:pt x="841" y="1726"/>
                  </a:lnTo>
                  <a:lnTo>
                    <a:pt x="820" y="1726"/>
                  </a:lnTo>
                  <a:lnTo>
                    <a:pt x="797" y="1724"/>
                  </a:lnTo>
                  <a:lnTo>
                    <a:pt x="775" y="1722"/>
                  </a:lnTo>
                  <a:lnTo>
                    <a:pt x="754" y="1719"/>
                  </a:lnTo>
                  <a:lnTo>
                    <a:pt x="732" y="1716"/>
                  </a:lnTo>
                  <a:lnTo>
                    <a:pt x="711" y="1713"/>
                  </a:lnTo>
                  <a:lnTo>
                    <a:pt x="690" y="1709"/>
                  </a:lnTo>
                  <a:lnTo>
                    <a:pt x="648" y="1699"/>
                  </a:lnTo>
                  <a:lnTo>
                    <a:pt x="607" y="1688"/>
                  </a:lnTo>
                  <a:lnTo>
                    <a:pt x="567" y="1674"/>
                  </a:lnTo>
                  <a:lnTo>
                    <a:pt x="528" y="1659"/>
                  </a:lnTo>
                  <a:lnTo>
                    <a:pt x="489" y="1642"/>
                  </a:lnTo>
                  <a:lnTo>
                    <a:pt x="452" y="1622"/>
                  </a:lnTo>
                  <a:lnTo>
                    <a:pt x="416" y="1602"/>
                  </a:lnTo>
                  <a:lnTo>
                    <a:pt x="381" y="1579"/>
                  </a:lnTo>
                  <a:lnTo>
                    <a:pt x="348" y="1555"/>
                  </a:lnTo>
                  <a:lnTo>
                    <a:pt x="314" y="1529"/>
                  </a:lnTo>
                  <a:lnTo>
                    <a:pt x="283" y="1502"/>
                  </a:lnTo>
                  <a:lnTo>
                    <a:pt x="254" y="1473"/>
                  </a:lnTo>
                  <a:lnTo>
                    <a:pt x="225" y="1444"/>
                  </a:lnTo>
                  <a:lnTo>
                    <a:pt x="198" y="1413"/>
                  </a:lnTo>
                  <a:lnTo>
                    <a:pt x="172" y="1379"/>
                  </a:lnTo>
                  <a:lnTo>
                    <a:pt x="148" y="1346"/>
                  </a:lnTo>
                  <a:lnTo>
                    <a:pt x="125" y="1311"/>
                  </a:lnTo>
                  <a:lnTo>
                    <a:pt x="105" y="1274"/>
                  </a:lnTo>
                  <a:lnTo>
                    <a:pt x="85" y="1238"/>
                  </a:lnTo>
                  <a:lnTo>
                    <a:pt x="68" y="1199"/>
                  </a:lnTo>
                  <a:lnTo>
                    <a:pt x="53" y="1160"/>
                  </a:lnTo>
                  <a:lnTo>
                    <a:pt x="39" y="1120"/>
                  </a:lnTo>
                  <a:lnTo>
                    <a:pt x="28" y="1079"/>
                  </a:lnTo>
                  <a:lnTo>
                    <a:pt x="18" y="1037"/>
                  </a:lnTo>
                  <a:lnTo>
                    <a:pt x="14" y="1016"/>
                  </a:lnTo>
                  <a:lnTo>
                    <a:pt x="11" y="995"/>
                  </a:lnTo>
                  <a:lnTo>
                    <a:pt x="8" y="973"/>
                  </a:lnTo>
                  <a:lnTo>
                    <a:pt x="5" y="952"/>
                  </a:lnTo>
                  <a:lnTo>
                    <a:pt x="3" y="930"/>
                  </a:lnTo>
                  <a:lnTo>
                    <a:pt x="1" y="907"/>
                  </a:lnTo>
                  <a:lnTo>
                    <a:pt x="1" y="886"/>
                  </a:lnTo>
                  <a:lnTo>
                    <a:pt x="0" y="863"/>
                  </a:lnTo>
                  <a:lnTo>
                    <a:pt x="1" y="841"/>
                  </a:lnTo>
                  <a:lnTo>
                    <a:pt x="1" y="819"/>
                  </a:lnTo>
                  <a:lnTo>
                    <a:pt x="3" y="797"/>
                  </a:lnTo>
                  <a:lnTo>
                    <a:pt x="5" y="774"/>
                  </a:lnTo>
                  <a:lnTo>
                    <a:pt x="8" y="753"/>
                  </a:lnTo>
                  <a:lnTo>
                    <a:pt x="11" y="731"/>
                  </a:lnTo>
                  <a:lnTo>
                    <a:pt x="14" y="711"/>
                  </a:lnTo>
                  <a:lnTo>
                    <a:pt x="18" y="689"/>
                  </a:lnTo>
                  <a:lnTo>
                    <a:pt x="28" y="647"/>
                  </a:lnTo>
                  <a:lnTo>
                    <a:pt x="39" y="606"/>
                  </a:lnTo>
                  <a:lnTo>
                    <a:pt x="53" y="566"/>
                  </a:lnTo>
                  <a:lnTo>
                    <a:pt x="68" y="527"/>
                  </a:lnTo>
                  <a:lnTo>
                    <a:pt x="85" y="489"/>
                  </a:lnTo>
                  <a:lnTo>
                    <a:pt x="105" y="452"/>
                  </a:lnTo>
                  <a:lnTo>
                    <a:pt x="125" y="416"/>
                  </a:lnTo>
                  <a:lnTo>
                    <a:pt x="148" y="380"/>
                  </a:lnTo>
                  <a:lnTo>
                    <a:pt x="172" y="347"/>
                  </a:lnTo>
                  <a:lnTo>
                    <a:pt x="198" y="314"/>
                  </a:lnTo>
                  <a:lnTo>
                    <a:pt x="225" y="283"/>
                  </a:lnTo>
                  <a:lnTo>
                    <a:pt x="254" y="253"/>
                  </a:lnTo>
                  <a:lnTo>
                    <a:pt x="283" y="224"/>
                  </a:lnTo>
                  <a:lnTo>
                    <a:pt x="314" y="197"/>
                  </a:lnTo>
                  <a:lnTo>
                    <a:pt x="348" y="172"/>
                  </a:lnTo>
                  <a:lnTo>
                    <a:pt x="381" y="147"/>
                  </a:lnTo>
                  <a:lnTo>
                    <a:pt x="416" y="124"/>
                  </a:lnTo>
                  <a:lnTo>
                    <a:pt x="452" y="104"/>
                  </a:lnTo>
                  <a:lnTo>
                    <a:pt x="489" y="85"/>
                  </a:lnTo>
                  <a:lnTo>
                    <a:pt x="528" y="68"/>
                  </a:lnTo>
                  <a:lnTo>
                    <a:pt x="567" y="52"/>
                  </a:lnTo>
                  <a:lnTo>
                    <a:pt x="607" y="39"/>
                  </a:lnTo>
                  <a:lnTo>
                    <a:pt x="648" y="27"/>
                  </a:lnTo>
                  <a:lnTo>
                    <a:pt x="690" y="17"/>
                  </a:lnTo>
                  <a:lnTo>
                    <a:pt x="711" y="13"/>
                  </a:lnTo>
                  <a:lnTo>
                    <a:pt x="732" y="10"/>
                  </a:lnTo>
                  <a:lnTo>
                    <a:pt x="754" y="7"/>
                  </a:lnTo>
                  <a:lnTo>
                    <a:pt x="775" y="4"/>
                  </a:lnTo>
                  <a:lnTo>
                    <a:pt x="797" y="2"/>
                  </a:lnTo>
                  <a:lnTo>
                    <a:pt x="820" y="1"/>
                  </a:lnTo>
                  <a:lnTo>
                    <a:pt x="841" y="0"/>
                  </a:lnTo>
                  <a:lnTo>
                    <a:pt x="864" y="0"/>
                  </a:lnTo>
                  <a:close/>
                  <a:moveTo>
                    <a:pt x="1335" y="392"/>
                  </a:moveTo>
                  <a:lnTo>
                    <a:pt x="1312" y="369"/>
                  </a:lnTo>
                  <a:lnTo>
                    <a:pt x="1287" y="349"/>
                  </a:lnTo>
                  <a:lnTo>
                    <a:pt x="1262" y="329"/>
                  </a:lnTo>
                  <a:lnTo>
                    <a:pt x="1237" y="310"/>
                  </a:lnTo>
                  <a:lnTo>
                    <a:pt x="1210" y="293"/>
                  </a:lnTo>
                  <a:lnTo>
                    <a:pt x="1181" y="278"/>
                  </a:lnTo>
                  <a:lnTo>
                    <a:pt x="1152" y="263"/>
                  </a:lnTo>
                  <a:lnTo>
                    <a:pt x="1123" y="250"/>
                  </a:lnTo>
                  <a:lnTo>
                    <a:pt x="1093" y="238"/>
                  </a:lnTo>
                  <a:lnTo>
                    <a:pt x="1062" y="227"/>
                  </a:lnTo>
                  <a:lnTo>
                    <a:pt x="1030" y="218"/>
                  </a:lnTo>
                  <a:lnTo>
                    <a:pt x="998" y="211"/>
                  </a:lnTo>
                  <a:lnTo>
                    <a:pt x="965" y="204"/>
                  </a:lnTo>
                  <a:lnTo>
                    <a:pt x="932" y="200"/>
                  </a:lnTo>
                  <a:lnTo>
                    <a:pt x="898" y="198"/>
                  </a:lnTo>
                  <a:lnTo>
                    <a:pt x="864" y="197"/>
                  </a:lnTo>
                  <a:lnTo>
                    <a:pt x="829" y="198"/>
                  </a:lnTo>
                  <a:lnTo>
                    <a:pt x="796" y="200"/>
                  </a:lnTo>
                  <a:lnTo>
                    <a:pt x="762" y="204"/>
                  </a:lnTo>
                  <a:lnTo>
                    <a:pt x="729" y="211"/>
                  </a:lnTo>
                  <a:lnTo>
                    <a:pt x="698" y="218"/>
                  </a:lnTo>
                  <a:lnTo>
                    <a:pt x="665" y="227"/>
                  </a:lnTo>
                  <a:lnTo>
                    <a:pt x="635" y="238"/>
                  </a:lnTo>
                  <a:lnTo>
                    <a:pt x="605" y="250"/>
                  </a:lnTo>
                  <a:lnTo>
                    <a:pt x="575" y="263"/>
                  </a:lnTo>
                  <a:lnTo>
                    <a:pt x="546" y="278"/>
                  </a:lnTo>
                  <a:lnTo>
                    <a:pt x="518" y="293"/>
                  </a:lnTo>
                  <a:lnTo>
                    <a:pt x="491" y="310"/>
                  </a:lnTo>
                  <a:lnTo>
                    <a:pt x="465" y="329"/>
                  </a:lnTo>
                  <a:lnTo>
                    <a:pt x="440" y="349"/>
                  </a:lnTo>
                  <a:lnTo>
                    <a:pt x="416" y="369"/>
                  </a:lnTo>
                  <a:lnTo>
                    <a:pt x="392" y="392"/>
                  </a:lnTo>
                  <a:lnTo>
                    <a:pt x="370" y="415"/>
                  </a:lnTo>
                  <a:lnTo>
                    <a:pt x="350" y="440"/>
                  </a:lnTo>
                  <a:lnTo>
                    <a:pt x="329" y="464"/>
                  </a:lnTo>
                  <a:lnTo>
                    <a:pt x="311" y="490"/>
                  </a:lnTo>
                  <a:lnTo>
                    <a:pt x="294" y="517"/>
                  </a:lnTo>
                  <a:lnTo>
                    <a:pt x="278" y="545"/>
                  </a:lnTo>
                  <a:lnTo>
                    <a:pt x="263" y="575"/>
                  </a:lnTo>
                  <a:lnTo>
                    <a:pt x="249" y="604"/>
                  </a:lnTo>
                  <a:lnTo>
                    <a:pt x="238" y="634"/>
                  </a:lnTo>
                  <a:lnTo>
                    <a:pt x="227" y="665"/>
                  </a:lnTo>
                  <a:lnTo>
                    <a:pt x="218" y="697"/>
                  </a:lnTo>
                  <a:lnTo>
                    <a:pt x="211" y="729"/>
                  </a:lnTo>
                  <a:lnTo>
                    <a:pt x="205" y="761"/>
                  </a:lnTo>
                  <a:lnTo>
                    <a:pt x="201" y="795"/>
                  </a:lnTo>
                  <a:lnTo>
                    <a:pt x="199" y="828"/>
                  </a:lnTo>
                  <a:lnTo>
                    <a:pt x="198" y="863"/>
                  </a:lnTo>
                  <a:lnTo>
                    <a:pt x="199" y="898"/>
                  </a:lnTo>
                  <a:lnTo>
                    <a:pt x="201" y="931"/>
                  </a:lnTo>
                  <a:lnTo>
                    <a:pt x="205" y="965"/>
                  </a:lnTo>
                  <a:lnTo>
                    <a:pt x="211" y="998"/>
                  </a:lnTo>
                  <a:lnTo>
                    <a:pt x="218" y="1029"/>
                  </a:lnTo>
                  <a:lnTo>
                    <a:pt x="227" y="1062"/>
                  </a:lnTo>
                  <a:lnTo>
                    <a:pt x="238" y="1092"/>
                  </a:lnTo>
                  <a:lnTo>
                    <a:pt x="249" y="1122"/>
                  </a:lnTo>
                  <a:lnTo>
                    <a:pt x="263" y="1152"/>
                  </a:lnTo>
                  <a:lnTo>
                    <a:pt x="278" y="1181"/>
                  </a:lnTo>
                  <a:lnTo>
                    <a:pt x="294" y="1209"/>
                  </a:lnTo>
                  <a:lnTo>
                    <a:pt x="311" y="1236"/>
                  </a:lnTo>
                  <a:lnTo>
                    <a:pt x="329" y="1262"/>
                  </a:lnTo>
                  <a:lnTo>
                    <a:pt x="350" y="1287"/>
                  </a:lnTo>
                  <a:lnTo>
                    <a:pt x="370" y="1311"/>
                  </a:lnTo>
                  <a:lnTo>
                    <a:pt x="392" y="1335"/>
                  </a:lnTo>
                  <a:lnTo>
                    <a:pt x="416" y="1357"/>
                  </a:lnTo>
                  <a:lnTo>
                    <a:pt x="440" y="1377"/>
                  </a:lnTo>
                  <a:lnTo>
                    <a:pt x="465" y="1398"/>
                  </a:lnTo>
                  <a:lnTo>
                    <a:pt x="491" y="1416"/>
                  </a:lnTo>
                  <a:lnTo>
                    <a:pt x="518" y="1433"/>
                  </a:lnTo>
                  <a:lnTo>
                    <a:pt x="546" y="1449"/>
                  </a:lnTo>
                  <a:lnTo>
                    <a:pt x="575" y="1463"/>
                  </a:lnTo>
                  <a:lnTo>
                    <a:pt x="605" y="1478"/>
                  </a:lnTo>
                  <a:lnTo>
                    <a:pt x="635" y="1489"/>
                  </a:lnTo>
                  <a:lnTo>
                    <a:pt x="665" y="1500"/>
                  </a:lnTo>
                  <a:lnTo>
                    <a:pt x="698" y="1509"/>
                  </a:lnTo>
                  <a:lnTo>
                    <a:pt x="729" y="1516"/>
                  </a:lnTo>
                  <a:lnTo>
                    <a:pt x="762" y="1522"/>
                  </a:lnTo>
                  <a:lnTo>
                    <a:pt x="796" y="1526"/>
                  </a:lnTo>
                  <a:lnTo>
                    <a:pt x="829" y="1528"/>
                  </a:lnTo>
                  <a:lnTo>
                    <a:pt x="864" y="1529"/>
                  </a:lnTo>
                  <a:lnTo>
                    <a:pt x="898" y="1528"/>
                  </a:lnTo>
                  <a:lnTo>
                    <a:pt x="932" y="1526"/>
                  </a:lnTo>
                  <a:lnTo>
                    <a:pt x="965" y="1522"/>
                  </a:lnTo>
                  <a:lnTo>
                    <a:pt x="998" y="1516"/>
                  </a:lnTo>
                  <a:lnTo>
                    <a:pt x="1030" y="1509"/>
                  </a:lnTo>
                  <a:lnTo>
                    <a:pt x="1062" y="1500"/>
                  </a:lnTo>
                  <a:lnTo>
                    <a:pt x="1093" y="1489"/>
                  </a:lnTo>
                  <a:lnTo>
                    <a:pt x="1123" y="1478"/>
                  </a:lnTo>
                  <a:lnTo>
                    <a:pt x="1152" y="1463"/>
                  </a:lnTo>
                  <a:lnTo>
                    <a:pt x="1181" y="1449"/>
                  </a:lnTo>
                  <a:lnTo>
                    <a:pt x="1210" y="1433"/>
                  </a:lnTo>
                  <a:lnTo>
                    <a:pt x="1237" y="1416"/>
                  </a:lnTo>
                  <a:lnTo>
                    <a:pt x="1262" y="1398"/>
                  </a:lnTo>
                  <a:lnTo>
                    <a:pt x="1287" y="1377"/>
                  </a:lnTo>
                  <a:lnTo>
                    <a:pt x="1312" y="1357"/>
                  </a:lnTo>
                  <a:lnTo>
                    <a:pt x="1335" y="1335"/>
                  </a:lnTo>
                  <a:lnTo>
                    <a:pt x="1357" y="1311"/>
                  </a:lnTo>
                  <a:lnTo>
                    <a:pt x="1378" y="1287"/>
                  </a:lnTo>
                  <a:lnTo>
                    <a:pt x="1397" y="1262"/>
                  </a:lnTo>
                  <a:lnTo>
                    <a:pt x="1416" y="1236"/>
                  </a:lnTo>
                  <a:lnTo>
                    <a:pt x="1434" y="1209"/>
                  </a:lnTo>
                  <a:lnTo>
                    <a:pt x="1449" y="1181"/>
                  </a:lnTo>
                  <a:lnTo>
                    <a:pt x="1464" y="1152"/>
                  </a:lnTo>
                  <a:lnTo>
                    <a:pt x="1477" y="1122"/>
                  </a:lnTo>
                  <a:lnTo>
                    <a:pt x="1489" y="1092"/>
                  </a:lnTo>
                  <a:lnTo>
                    <a:pt x="1500" y="1062"/>
                  </a:lnTo>
                  <a:lnTo>
                    <a:pt x="1509" y="1029"/>
                  </a:lnTo>
                  <a:lnTo>
                    <a:pt x="1516" y="998"/>
                  </a:lnTo>
                  <a:lnTo>
                    <a:pt x="1523" y="965"/>
                  </a:lnTo>
                  <a:lnTo>
                    <a:pt x="1527" y="931"/>
                  </a:lnTo>
                  <a:lnTo>
                    <a:pt x="1529" y="898"/>
                  </a:lnTo>
                  <a:lnTo>
                    <a:pt x="1530" y="863"/>
                  </a:lnTo>
                  <a:lnTo>
                    <a:pt x="1529" y="828"/>
                  </a:lnTo>
                  <a:lnTo>
                    <a:pt x="1527" y="795"/>
                  </a:lnTo>
                  <a:lnTo>
                    <a:pt x="1523" y="761"/>
                  </a:lnTo>
                  <a:lnTo>
                    <a:pt x="1516" y="729"/>
                  </a:lnTo>
                  <a:lnTo>
                    <a:pt x="1509" y="697"/>
                  </a:lnTo>
                  <a:lnTo>
                    <a:pt x="1500" y="665"/>
                  </a:lnTo>
                  <a:lnTo>
                    <a:pt x="1489" y="634"/>
                  </a:lnTo>
                  <a:lnTo>
                    <a:pt x="1477" y="604"/>
                  </a:lnTo>
                  <a:lnTo>
                    <a:pt x="1464" y="575"/>
                  </a:lnTo>
                  <a:lnTo>
                    <a:pt x="1449" y="545"/>
                  </a:lnTo>
                  <a:lnTo>
                    <a:pt x="1434" y="517"/>
                  </a:lnTo>
                  <a:lnTo>
                    <a:pt x="1416" y="490"/>
                  </a:lnTo>
                  <a:lnTo>
                    <a:pt x="1397" y="464"/>
                  </a:lnTo>
                  <a:lnTo>
                    <a:pt x="1378" y="440"/>
                  </a:lnTo>
                  <a:lnTo>
                    <a:pt x="1357" y="415"/>
                  </a:lnTo>
                  <a:lnTo>
                    <a:pt x="1335" y="392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0"/>
            <p:cNvSpPr>
              <a:spLocks/>
            </p:cNvSpPr>
            <p:nvPr/>
          </p:nvSpPr>
          <p:spPr bwMode="auto">
            <a:xfrm>
              <a:off x="3910883" y="2910328"/>
              <a:ext cx="260835" cy="260835"/>
            </a:xfrm>
            <a:custGeom>
              <a:avLst/>
              <a:gdLst>
                <a:gd name="T0" fmla="*/ 285 w 517"/>
                <a:gd name="T1" fmla="*/ 1 h 517"/>
                <a:gd name="T2" fmla="*/ 324 w 517"/>
                <a:gd name="T3" fmla="*/ 7 h 517"/>
                <a:gd name="T4" fmla="*/ 359 w 517"/>
                <a:gd name="T5" fmla="*/ 20 h 517"/>
                <a:gd name="T6" fmla="*/ 393 w 517"/>
                <a:gd name="T7" fmla="*/ 37 h 517"/>
                <a:gd name="T8" fmla="*/ 423 w 517"/>
                <a:gd name="T9" fmla="*/ 58 h 517"/>
                <a:gd name="T10" fmla="*/ 450 w 517"/>
                <a:gd name="T11" fmla="*/ 84 h 517"/>
                <a:gd name="T12" fmla="*/ 473 w 517"/>
                <a:gd name="T13" fmla="*/ 113 h 517"/>
                <a:gd name="T14" fmla="*/ 492 w 517"/>
                <a:gd name="T15" fmla="*/ 146 h 517"/>
                <a:gd name="T16" fmla="*/ 505 w 517"/>
                <a:gd name="T17" fmla="*/ 181 h 517"/>
                <a:gd name="T18" fmla="*/ 514 w 517"/>
                <a:gd name="T19" fmla="*/ 219 h 517"/>
                <a:gd name="T20" fmla="*/ 517 w 517"/>
                <a:gd name="T21" fmla="*/ 258 h 517"/>
                <a:gd name="T22" fmla="*/ 514 w 517"/>
                <a:gd name="T23" fmla="*/ 298 h 517"/>
                <a:gd name="T24" fmla="*/ 505 w 517"/>
                <a:gd name="T25" fmla="*/ 335 h 517"/>
                <a:gd name="T26" fmla="*/ 492 w 517"/>
                <a:gd name="T27" fmla="*/ 370 h 517"/>
                <a:gd name="T28" fmla="*/ 473 w 517"/>
                <a:gd name="T29" fmla="*/ 403 h 517"/>
                <a:gd name="T30" fmla="*/ 450 w 517"/>
                <a:gd name="T31" fmla="*/ 432 h 517"/>
                <a:gd name="T32" fmla="*/ 423 w 517"/>
                <a:gd name="T33" fmla="*/ 458 h 517"/>
                <a:gd name="T34" fmla="*/ 393 w 517"/>
                <a:gd name="T35" fmla="*/ 479 h 517"/>
                <a:gd name="T36" fmla="*/ 359 w 517"/>
                <a:gd name="T37" fmla="*/ 497 h 517"/>
                <a:gd name="T38" fmla="*/ 324 w 517"/>
                <a:gd name="T39" fmla="*/ 509 h 517"/>
                <a:gd name="T40" fmla="*/ 285 w 517"/>
                <a:gd name="T41" fmla="*/ 515 h 517"/>
                <a:gd name="T42" fmla="*/ 245 w 517"/>
                <a:gd name="T43" fmla="*/ 516 h 517"/>
                <a:gd name="T44" fmla="*/ 207 w 517"/>
                <a:gd name="T45" fmla="*/ 512 h 517"/>
                <a:gd name="T46" fmla="*/ 170 w 517"/>
                <a:gd name="T47" fmla="*/ 501 h 517"/>
                <a:gd name="T48" fmla="*/ 136 w 517"/>
                <a:gd name="T49" fmla="*/ 486 h 517"/>
                <a:gd name="T50" fmla="*/ 105 w 517"/>
                <a:gd name="T51" fmla="*/ 465 h 517"/>
                <a:gd name="T52" fmla="*/ 76 w 517"/>
                <a:gd name="T53" fmla="*/ 441 h 517"/>
                <a:gd name="T54" fmla="*/ 52 w 517"/>
                <a:gd name="T55" fmla="*/ 412 h 517"/>
                <a:gd name="T56" fmla="*/ 31 w 517"/>
                <a:gd name="T57" fmla="*/ 381 h 517"/>
                <a:gd name="T58" fmla="*/ 16 w 517"/>
                <a:gd name="T59" fmla="*/ 347 h 517"/>
                <a:gd name="T60" fmla="*/ 5 w 517"/>
                <a:gd name="T61" fmla="*/ 310 h 517"/>
                <a:gd name="T62" fmla="*/ 1 w 517"/>
                <a:gd name="T63" fmla="*/ 271 h 517"/>
                <a:gd name="T64" fmla="*/ 2 w 517"/>
                <a:gd name="T65" fmla="*/ 232 h 517"/>
                <a:gd name="T66" fmla="*/ 8 w 517"/>
                <a:gd name="T67" fmla="*/ 193 h 517"/>
                <a:gd name="T68" fmla="*/ 20 w 517"/>
                <a:gd name="T69" fmla="*/ 158 h 517"/>
                <a:gd name="T70" fmla="*/ 38 w 517"/>
                <a:gd name="T71" fmla="*/ 124 h 517"/>
                <a:gd name="T72" fmla="*/ 59 w 517"/>
                <a:gd name="T73" fmla="*/ 94 h 517"/>
                <a:gd name="T74" fmla="*/ 85 w 517"/>
                <a:gd name="T75" fmla="*/ 67 h 517"/>
                <a:gd name="T76" fmla="*/ 114 w 517"/>
                <a:gd name="T77" fmla="*/ 44 h 517"/>
                <a:gd name="T78" fmla="*/ 147 w 517"/>
                <a:gd name="T79" fmla="*/ 25 h 517"/>
                <a:gd name="T80" fmla="*/ 182 w 517"/>
                <a:gd name="T81" fmla="*/ 12 h 517"/>
                <a:gd name="T82" fmla="*/ 219 w 517"/>
                <a:gd name="T83" fmla="*/ 3 h 517"/>
                <a:gd name="T84" fmla="*/ 259 w 517"/>
                <a:gd name="T85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17" h="517">
                  <a:moveTo>
                    <a:pt x="259" y="0"/>
                  </a:moveTo>
                  <a:lnTo>
                    <a:pt x="272" y="0"/>
                  </a:lnTo>
                  <a:lnTo>
                    <a:pt x="285" y="1"/>
                  </a:lnTo>
                  <a:lnTo>
                    <a:pt x="298" y="3"/>
                  </a:lnTo>
                  <a:lnTo>
                    <a:pt x="311" y="5"/>
                  </a:lnTo>
                  <a:lnTo>
                    <a:pt x="324" y="7"/>
                  </a:lnTo>
                  <a:lnTo>
                    <a:pt x="336" y="12"/>
                  </a:lnTo>
                  <a:lnTo>
                    <a:pt x="347" y="15"/>
                  </a:lnTo>
                  <a:lnTo>
                    <a:pt x="359" y="20"/>
                  </a:lnTo>
                  <a:lnTo>
                    <a:pt x="371" y="25"/>
                  </a:lnTo>
                  <a:lnTo>
                    <a:pt x="382" y="31"/>
                  </a:lnTo>
                  <a:lnTo>
                    <a:pt x="393" y="37"/>
                  </a:lnTo>
                  <a:lnTo>
                    <a:pt x="404" y="44"/>
                  </a:lnTo>
                  <a:lnTo>
                    <a:pt x="413" y="51"/>
                  </a:lnTo>
                  <a:lnTo>
                    <a:pt x="423" y="58"/>
                  </a:lnTo>
                  <a:lnTo>
                    <a:pt x="433" y="67"/>
                  </a:lnTo>
                  <a:lnTo>
                    <a:pt x="441" y="75"/>
                  </a:lnTo>
                  <a:lnTo>
                    <a:pt x="450" y="84"/>
                  </a:lnTo>
                  <a:lnTo>
                    <a:pt x="458" y="94"/>
                  </a:lnTo>
                  <a:lnTo>
                    <a:pt x="466" y="104"/>
                  </a:lnTo>
                  <a:lnTo>
                    <a:pt x="473" y="113"/>
                  </a:lnTo>
                  <a:lnTo>
                    <a:pt x="479" y="124"/>
                  </a:lnTo>
                  <a:lnTo>
                    <a:pt x="486" y="135"/>
                  </a:lnTo>
                  <a:lnTo>
                    <a:pt x="492" y="146"/>
                  </a:lnTo>
                  <a:lnTo>
                    <a:pt x="497" y="158"/>
                  </a:lnTo>
                  <a:lnTo>
                    <a:pt x="502" y="169"/>
                  </a:lnTo>
                  <a:lnTo>
                    <a:pt x="505" y="181"/>
                  </a:lnTo>
                  <a:lnTo>
                    <a:pt x="509" y="193"/>
                  </a:lnTo>
                  <a:lnTo>
                    <a:pt x="512" y="206"/>
                  </a:lnTo>
                  <a:lnTo>
                    <a:pt x="514" y="219"/>
                  </a:lnTo>
                  <a:lnTo>
                    <a:pt x="516" y="232"/>
                  </a:lnTo>
                  <a:lnTo>
                    <a:pt x="517" y="245"/>
                  </a:lnTo>
                  <a:lnTo>
                    <a:pt x="517" y="258"/>
                  </a:lnTo>
                  <a:lnTo>
                    <a:pt x="517" y="271"/>
                  </a:lnTo>
                  <a:lnTo>
                    <a:pt x="516" y="285"/>
                  </a:lnTo>
                  <a:lnTo>
                    <a:pt x="514" y="298"/>
                  </a:lnTo>
                  <a:lnTo>
                    <a:pt x="512" y="310"/>
                  </a:lnTo>
                  <a:lnTo>
                    <a:pt x="509" y="323"/>
                  </a:lnTo>
                  <a:lnTo>
                    <a:pt x="505" y="335"/>
                  </a:lnTo>
                  <a:lnTo>
                    <a:pt x="502" y="347"/>
                  </a:lnTo>
                  <a:lnTo>
                    <a:pt x="497" y="358"/>
                  </a:lnTo>
                  <a:lnTo>
                    <a:pt x="492" y="370"/>
                  </a:lnTo>
                  <a:lnTo>
                    <a:pt x="486" y="381"/>
                  </a:lnTo>
                  <a:lnTo>
                    <a:pt x="479" y="392"/>
                  </a:lnTo>
                  <a:lnTo>
                    <a:pt x="473" y="403"/>
                  </a:lnTo>
                  <a:lnTo>
                    <a:pt x="466" y="412"/>
                  </a:lnTo>
                  <a:lnTo>
                    <a:pt x="458" y="422"/>
                  </a:lnTo>
                  <a:lnTo>
                    <a:pt x="450" y="432"/>
                  </a:lnTo>
                  <a:lnTo>
                    <a:pt x="441" y="441"/>
                  </a:lnTo>
                  <a:lnTo>
                    <a:pt x="433" y="449"/>
                  </a:lnTo>
                  <a:lnTo>
                    <a:pt x="423" y="458"/>
                  </a:lnTo>
                  <a:lnTo>
                    <a:pt x="413" y="465"/>
                  </a:lnTo>
                  <a:lnTo>
                    <a:pt x="404" y="473"/>
                  </a:lnTo>
                  <a:lnTo>
                    <a:pt x="393" y="479"/>
                  </a:lnTo>
                  <a:lnTo>
                    <a:pt x="382" y="486"/>
                  </a:lnTo>
                  <a:lnTo>
                    <a:pt x="371" y="491"/>
                  </a:lnTo>
                  <a:lnTo>
                    <a:pt x="359" y="497"/>
                  </a:lnTo>
                  <a:lnTo>
                    <a:pt x="347" y="501"/>
                  </a:lnTo>
                  <a:lnTo>
                    <a:pt x="336" y="505"/>
                  </a:lnTo>
                  <a:lnTo>
                    <a:pt x="324" y="509"/>
                  </a:lnTo>
                  <a:lnTo>
                    <a:pt x="311" y="512"/>
                  </a:lnTo>
                  <a:lnTo>
                    <a:pt x="298" y="514"/>
                  </a:lnTo>
                  <a:lnTo>
                    <a:pt x="285" y="515"/>
                  </a:lnTo>
                  <a:lnTo>
                    <a:pt x="272" y="516"/>
                  </a:lnTo>
                  <a:lnTo>
                    <a:pt x="259" y="517"/>
                  </a:lnTo>
                  <a:lnTo>
                    <a:pt x="245" y="516"/>
                  </a:lnTo>
                  <a:lnTo>
                    <a:pt x="232" y="515"/>
                  </a:lnTo>
                  <a:lnTo>
                    <a:pt x="219" y="514"/>
                  </a:lnTo>
                  <a:lnTo>
                    <a:pt x="207" y="512"/>
                  </a:lnTo>
                  <a:lnTo>
                    <a:pt x="194" y="509"/>
                  </a:lnTo>
                  <a:lnTo>
                    <a:pt x="182" y="505"/>
                  </a:lnTo>
                  <a:lnTo>
                    <a:pt x="170" y="501"/>
                  </a:lnTo>
                  <a:lnTo>
                    <a:pt x="158" y="497"/>
                  </a:lnTo>
                  <a:lnTo>
                    <a:pt x="147" y="491"/>
                  </a:lnTo>
                  <a:lnTo>
                    <a:pt x="136" y="486"/>
                  </a:lnTo>
                  <a:lnTo>
                    <a:pt x="125" y="479"/>
                  </a:lnTo>
                  <a:lnTo>
                    <a:pt x="114" y="473"/>
                  </a:lnTo>
                  <a:lnTo>
                    <a:pt x="105" y="465"/>
                  </a:lnTo>
                  <a:lnTo>
                    <a:pt x="95" y="458"/>
                  </a:lnTo>
                  <a:lnTo>
                    <a:pt x="85" y="449"/>
                  </a:lnTo>
                  <a:lnTo>
                    <a:pt x="76" y="441"/>
                  </a:lnTo>
                  <a:lnTo>
                    <a:pt x="68" y="432"/>
                  </a:lnTo>
                  <a:lnTo>
                    <a:pt x="59" y="422"/>
                  </a:lnTo>
                  <a:lnTo>
                    <a:pt x="52" y="412"/>
                  </a:lnTo>
                  <a:lnTo>
                    <a:pt x="44" y="403"/>
                  </a:lnTo>
                  <a:lnTo>
                    <a:pt x="38" y="392"/>
                  </a:lnTo>
                  <a:lnTo>
                    <a:pt x="31" y="381"/>
                  </a:lnTo>
                  <a:lnTo>
                    <a:pt x="26" y="370"/>
                  </a:lnTo>
                  <a:lnTo>
                    <a:pt x="20" y="358"/>
                  </a:lnTo>
                  <a:lnTo>
                    <a:pt x="16" y="347"/>
                  </a:lnTo>
                  <a:lnTo>
                    <a:pt x="12" y="335"/>
                  </a:lnTo>
                  <a:lnTo>
                    <a:pt x="8" y="323"/>
                  </a:lnTo>
                  <a:lnTo>
                    <a:pt x="5" y="310"/>
                  </a:lnTo>
                  <a:lnTo>
                    <a:pt x="3" y="298"/>
                  </a:lnTo>
                  <a:lnTo>
                    <a:pt x="2" y="285"/>
                  </a:lnTo>
                  <a:lnTo>
                    <a:pt x="1" y="271"/>
                  </a:lnTo>
                  <a:lnTo>
                    <a:pt x="0" y="258"/>
                  </a:lnTo>
                  <a:lnTo>
                    <a:pt x="1" y="245"/>
                  </a:lnTo>
                  <a:lnTo>
                    <a:pt x="2" y="232"/>
                  </a:lnTo>
                  <a:lnTo>
                    <a:pt x="3" y="219"/>
                  </a:lnTo>
                  <a:lnTo>
                    <a:pt x="5" y="206"/>
                  </a:lnTo>
                  <a:lnTo>
                    <a:pt x="8" y="193"/>
                  </a:lnTo>
                  <a:lnTo>
                    <a:pt x="12" y="181"/>
                  </a:lnTo>
                  <a:lnTo>
                    <a:pt x="16" y="169"/>
                  </a:lnTo>
                  <a:lnTo>
                    <a:pt x="20" y="158"/>
                  </a:lnTo>
                  <a:lnTo>
                    <a:pt x="26" y="146"/>
                  </a:lnTo>
                  <a:lnTo>
                    <a:pt x="31" y="135"/>
                  </a:lnTo>
                  <a:lnTo>
                    <a:pt x="38" y="124"/>
                  </a:lnTo>
                  <a:lnTo>
                    <a:pt x="44" y="113"/>
                  </a:lnTo>
                  <a:lnTo>
                    <a:pt x="52" y="104"/>
                  </a:lnTo>
                  <a:lnTo>
                    <a:pt x="59" y="94"/>
                  </a:lnTo>
                  <a:lnTo>
                    <a:pt x="68" y="84"/>
                  </a:lnTo>
                  <a:lnTo>
                    <a:pt x="76" y="75"/>
                  </a:lnTo>
                  <a:lnTo>
                    <a:pt x="85" y="67"/>
                  </a:lnTo>
                  <a:lnTo>
                    <a:pt x="95" y="58"/>
                  </a:lnTo>
                  <a:lnTo>
                    <a:pt x="105" y="51"/>
                  </a:lnTo>
                  <a:lnTo>
                    <a:pt x="114" y="44"/>
                  </a:lnTo>
                  <a:lnTo>
                    <a:pt x="125" y="37"/>
                  </a:lnTo>
                  <a:lnTo>
                    <a:pt x="136" y="31"/>
                  </a:lnTo>
                  <a:lnTo>
                    <a:pt x="147" y="25"/>
                  </a:lnTo>
                  <a:lnTo>
                    <a:pt x="158" y="20"/>
                  </a:lnTo>
                  <a:lnTo>
                    <a:pt x="170" y="15"/>
                  </a:lnTo>
                  <a:lnTo>
                    <a:pt x="182" y="12"/>
                  </a:lnTo>
                  <a:lnTo>
                    <a:pt x="194" y="7"/>
                  </a:lnTo>
                  <a:lnTo>
                    <a:pt x="207" y="5"/>
                  </a:lnTo>
                  <a:lnTo>
                    <a:pt x="219" y="3"/>
                  </a:lnTo>
                  <a:lnTo>
                    <a:pt x="232" y="1"/>
                  </a:lnTo>
                  <a:lnTo>
                    <a:pt x="245" y="0"/>
                  </a:lnTo>
                  <a:lnTo>
                    <a:pt x="259" y="0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5708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9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6</TotalTime>
  <Words>475</Words>
  <Application>Microsoft Office PowerPoint</Application>
  <PresentationFormat>On-screen Show (4:3)</PresentationFormat>
  <Paragraphs>119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GOALS</vt:lpstr>
      <vt:lpstr>GOALS</vt:lpstr>
      <vt:lpstr>GOALS</vt:lpstr>
      <vt:lpstr>GOALS</vt:lpstr>
      <vt:lpstr>GOALS</vt:lpstr>
      <vt:lpstr>GOALS</vt:lpstr>
      <vt:lpstr>GOALS</vt:lpstr>
      <vt:lpstr>GOALS</vt:lpstr>
      <vt:lpstr>GOALS</vt:lpstr>
    </vt:vector>
  </TitlesOfParts>
  <Company>Pahlawa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24Slides.com</cp:lastModifiedBy>
  <cp:revision>80</cp:revision>
  <dcterms:created xsi:type="dcterms:W3CDTF">2013-10-31T11:03:13Z</dcterms:created>
  <dcterms:modified xsi:type="dcterms:W3CDTF">2014-02-19T04:5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0DF3DD3-A5B2-4E9B-B190-B2A10EC32ECC</vt:lpwstr>
  </property>
  <property fmtid="{D5CDD505-2E9C-101B-9397-08002B2CF9AE}" pid="3" name="ArticulatePath">
    <vt:lpwstr>FIXGoal</vt:lpwstr>
  </property>
</Properties>
</file>